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notesSlides/notesSlide2.xml" ContentType="application/vnd.openxmlformats-officedocument.presentationml.notesSlide+xml"/>
  <Override PartName="/ppt/tags/tag6.xml" ContentType="application/vnd.openxmlformats-officedocument.presentationml.tags+xml"/>
  <Override PartName="/ppt/tags/tag8.xml" ContentType="application/vnd.openxmlformats-officedocument.presentationml.tags+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wmf" ContentType="image/x-w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6.xml" ContentType="application/vnd.openxmlformats-officedocument.presentationml.tags+xml"/>
  <Override PartName="/ppt/tags/tag17.xml" ContentType="application/vnd.openxmlformats-officedocument.presentationml.tags+xml"/>
  <Override PartName="/ppt/slideLayouts/slideLayout10.xml" ContentType="application/vnd.openxmlformats-officedocument.presentationml.slideLayout+xml"/>
  <Override PartName="/ppt/tags/tag14.xml" ContentType="application/vnd.openxmlformats-officedocument.presentationml.tags+xml"/>
  <Override PartName="/ppt/tags/tag15.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docProps/core.xml" ContentType="application/vnd.openxmlformats-package.core-properties+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jpeg" ContentType="image/jpeg"/>
  <Override PartName="/ppt/tags/tag3.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wmf"/><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8"/>
  </p:notesMasterIdLst>
  <p:sldIdLst>
    <p:sldId id="262" r:id="rId2"/>
    <p:sldId id="415" r:id="rId3"/>
    <p:sldId id="433" r:id="rId4"/>
    <p:sldId id="424" r:id="rId5"/>
    <p:sldId id="438" r:id="rId6"/>
    <p:sldId id="399" r:id="rId7"/>
    <p:sldId id="412" r:id="rId8"/>
    <p:sldId id="422" r:id="rId9"/>
    <p:sldId id="426" r:id="rId10"/>
    <p:sldId id="425" r:id="rId11"/>
    <p:sldId id="398" r:id="rId12"/>
    <p:sldId id="409" r:id="rId13"/>
    <p:sldId id="410" r:id="rId14"/>
    <p:sldId id="430" r:id="rId15"/>
    <p:sldId id="292" r:id="rId16"/>
    <p:sldId id="403" r:id="rId17"/>
  </p:sldIdLst>
  <p:sldSz cx="9144000" cy="6858000" type="screen4x3"/>
  <p:notesSz cx="6858000" cy="9144000"/>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7889FB"/>
    <a:srgbClr val="000066"/>
    <a:srgbClr val="006600"/>
    <a:srgbClr val="FF6600"/>
    <a:srgbClr val="000000"/>
    <a:srgbClr val="000080"/>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6932" autoAdjust="0"/>
    <p:restoredTop sz="95857" autoAdjust="0"/>
  </p:normalViewPr>
  <p:slideViewPr>
    <p:cSldViewPr snapToGrid="0" snapToObjects="1">
      <p:cViewPr varScale="1">
        <p:scale>
          <a:sx n="76" d="100"/>
          <a:sy n="76" d="100"/>
        </p:scale>
        <p:origin x="-1536" y="-96"/>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1" d="100"/>
        <a:sy n="71" d="100"/>
      </p:scale>
      <p:origin x="0" y="0"/>
    </p:cViewPr>
  </p:sorter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9E98E269-AD3D-487C-9DEB-24E3D837B51C}" type="datetimeFigureOut">
              <a:rPr lang="en-US"/>
              <a:pPr>
                <a:defRPr/>
              </a:pPr>
              <a:t>5/19/2014</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CBA035FC-B612-4FF6-91B5-A10A18286A03}" type="slidenum">
              <a:rPr lang="en-US"/>
              <a:pPr>
                <a:defRPr/>
              </a:pPr>
              <a:t>‹#›</a:t>
            </a:fld>
            <a:endParaRPr 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Rectangle 7"/>
          <p:cNvSpPr txBox="1">
            <a:spLocks noGrp="1" noChangeArrowheads="1"/>
          </p:cNvSpPr>
          <p:nvPr/>
        </p:nvSpPr>
        <p:spPr bwMode="auto">
          <a:xfrm>
            <a:off x="3884613" y="8685213"/>
            <a:ext cx="2971800" cy="457200"/>
          </a:xfrm>
          <a:prstGeom prst="rect">
            <a:avLst/>
          </a:prstGeom>
          <a:noFill/>
          <a:ln w="9525">
            <a:noFill/>
            <a:miter lim="800000"/>
            <a:headEnd/>
            <a:tailEnd/>
          </a:ln>
        </p:spPr>
        <p:txBody>
          <a:bodyPr anchor="b"/>
          <a:lstStyle/>
          <a:p>
            <a:pPr algn="r"/>
            <a:fld id="{2CA78C69-6C04-4E19-A53F-4648A58518E9}" type="slidenum">
              <a:rPr lang="en-US" sz="1200">
                <a:latin typeface="Calibri" pitchFamily="34" charset="0"/>
              </a:rPr>
              <a:pPr algn="r"/>
              <a:t>4</a:t>
            </a:fld>
            <a:endParaRPr lang="en-US" sz="1200">
              <a:latin typeface="Calibri" pitchFamily="34" charset="0"/>
            </a:endParaRPr>
          </a:p>
        </p:txBody>
      </p:sp>
      <p:sp>
        <p:nvSpPr>
          <p:cNvPr id="26626"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26627"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endParaRPr lang="es-E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4578" name="Rectangle 6"/>
          <p:cNvSpPr txBox="1">
            <a:spLocks noGrp="1" noChangeArrowheads="1"/>
          </p:cNvSpPr>
          <p:nvPr/>
        </p:nvSpPr>
        <p:spPr bwMode="auto">
          <a:xfrm>
            <a:off x="3884613" y="8685213"/>
            <a:ext cx="2971800" cy="457200"/>
          </a:xfrm>
          <a:prstGeom prst="rect">
            <a:avLst/>
          </a:prstGeom>
          <a:noFill/>
          <a:ln w="9525">
            <a:noFill/>
            <a:miter lim="800000"/>
            <a:headEnd/>
            <a:tailEnd/>
          </a:ln>
        </p:spPr>
        <p:txBody>
          <a:bodyPr anchor="b"/>
          <a:lstStyle/>
          <a:p>
            <a:pPr algn="r"/>
            <a:fld id="{34AAA19E-F358-47A0-9A25-25A83E5E7582}" type="slidenum">
              <a:rPr lang="en-US" sz="1200">
                <a:latin typeface="Calibri" pitchFamily="34" charset="0"/>
              </a:rPr>
              <a:pPr algn="r"/>
              <a:t>9</a:t>
            </a:fld>
            <a:endParaRPr lang="en-US" sz="1200">
              <a:latin typeface="Calibri" pitchFamily="34" charset="0"/>
            </a:endParaRPr>
          </a:p>
        </p:txBody>
      </p:sp>
      <p:sp>
        <p:nvSpPr>
          <p:cNvPr id="24579" name="Rectangle 2"/>
          <p:cNvSpPr>
            <a:spLocks noGrp="1" noRot="1" noChangeAspect="1" noChangeArrowheads="1" noTextEdit="1"/>
          </p:cNvSpPr>
          <p:nvPr>
            <p:ph type="sldImg"/>
          </p:nvPr>
        </p:nvSpPr>
        <p:spPr bwMode="auto">
          <a:xfrm>
            <a:off x="1141413" y="695325"/>
            <a:ext cx="4572000" cy="3429000"/>
          </a:xfrm>
          <a:noFill/>
          <a:ln>
            <a:solidFill>
              <a:srgbClr val="000000"/>
            </a:solidFill>
            <a:miter lim="800000"/>
            <a:headEnd/>
            <a:tailEnd/>
          </a:ln>
        </p:spPr>
      </p:sp>
      <p:sp>
        <p:nvSpPr>
          <p:cNvPr id="24580" name="Rectangle 3"/>
          <p:cNvSpPr>
            <a:spLocks noGrp="1" noChangeArrowheads="1"/>
          </p:cNvSpPr>
          <p:nvPr>
            <p:ph type="body" idx="1"/>
          </p:nvPr>
        </p:nvSpPr>
        <p:spPr bwMode="auto">
          <a:noFill/>
        </p:spPr>
        <p:txBody>
          <a:bodyPr wrap="none" numCol="1" anchor="ctr" anchorCtr="0" compatLnSpc="1">
            <a:prstTxWarp prst="textNoShape">
              <a:avLst/>
            </a:prstTxWarp>
          </a:bodyPr>
          <a:lstStyle/>
          <a:p>
            <a:pPr>
              <a:spcBef>
                <a:spcPct val="0"/>
              </a:spcBef>
            </a:pPr>
            <a:endParaRPr 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Rectangle 7"/>
          <p:cNvSpPr txBox="1">
            <a:spLocks noGrp="1" noChangeArrowheads="1"/>
          </p:cNvSpPr>
          <p:nvPr/>
        </p:nvSpPr>
        <p:spPr bwMode="auto">
          <a:xfrm>
            <a:off x="3884613" y="8685213"/>
            <a:ext cx="2971800" cy="457200"/>
          </a:xfrm>
          <a:prstGeom prst="rect">
            <a:avLst/>
          </a:prstGeom>
          <a:noFill/>
          <a:ln w="9525">
            <a:noFill/>
            <a:miter lim="800000"/>
            <a:headEnd/>
            <a:tailEnd/>
          </a:ln>
        </p:spPr>
        <p:txBody>
          <a:bodyPr anchor="b"/>
          <a:lstStyle/>
          <a:p>
            <a:pPr algn="r"/>
            <a:fld id="{22FAE28F-26AD-4B02-91FA-19AE79023026}" type="slidenum">
              <a:rPr lang="en-US" sz="1200">
                <a:latin typeface="Calibri" pitchFamily="34" charset="0"/>
              </a:rPr>
              <a:pPr algn="r"/>
              <a:t>12</a:t>
            </a:fld>
            <a:endParaRPr lang="en-US" sz="1200">
              <a:latin typeface="Calibri" pitchFamily="34" charset="0"/>
            </a:endParaRPr>
          </a:p>
        </p:txBody>
      </p:sp>
      <p:sp>
        <p:nvSpPr>
          <p:cNvPr id="30722" name="Rectangle 2"/>
          <p:cNvSpPr>
            <a:spLocks noGrp="1" noRot="1" noChangeAspect="1" noChangeArrowheads="1" noTextEdit="1"/>
          </p:cNvSpPr>
          <p:nvPr>
            <p:ph type="sldImg"/>
          </p:nvPr>
        </p:nvSpPr>
        <p:spPr bwMode="auto">
          <a:xfrm>
            <a:off x="1154113" y="692150"/>
            <a:ext cx="4554537" cy="3416300"/>
          </a:xfrm>
          <a:noFill/>
          <a:ln>
            <a:solidFill>
              <a:srgbClr val="000000"/>
            </a:solidFill>
            <a:miter lim="800000"/>
            <a:headEnd/>
            <a:tailEnd/>
          </a:ln>
        </p:spPr>
      </p:sp>
      <p:sp>
        <p:nvSpPr>
          <p:cNvPr id="30723" name="Rectangle 3"/>
          <p:cNvSpPr>
            <a:spLocks noGrp="1" noChangeArrowheads="1"/>
          </p:cNvSpPr>
          <p:nvPr>
            <p:ph type="body" idx="1"/>
          </p:nvPr>
        </p:nvSpPr>
        <p:spPr bwMode="auto">
          <a:xfrm>
            <a:off x="914400" y="4343400"/>
            <a:ext cx="5029200" cy="4114800"/>
          </a:xfrm>
          <a:noFill/>
        </p:spPr>
        <p:txBody>
          <a:bodyPr wrap="square" lIns="88493" tIns="44247" rIns="88493" bIns="44247" numCol="1" anchor="t" anchorCtr="0" compatLnSpc="1">
            <a:prstTxWarp prst="textNoShape">
              <a:avLst/>
            </a:prstTxWarp>
          </a:bodyPr>
          <a:lstStyle/>
          <a:p>
            <a:pPr>
              <a:spcBef>
                <a:spcPct val="0"/>
              </a:spcBef>
            </a:pPr>
            <a:endParaRPr lang="nl-NL"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txBox="1">
            <a:spLocks noGrp="1" noChangeArrowheads="1"/>
          </p:cNvSpPr>
          <p:nvPr/>
        </p:nvSpPr>
        <p:spPr bwMode="auto">
          <a:xfrm>
            <a:off x="3884613" y="8685213"/>
            <a:ext cx="2971800" cy="457200"/>
          </a:xfrm>
          <a:prstGeom prst="rect">
            <a:avLst/>
          </a:prstGeom>
          <a:noFill/>
          <a:ln w="9525">
            <a:noFill/>
            <a:miter lim="800000"/>
            <a:headEnd/>
            <a:tailEnd/>
          </a:ln>
        </p:spPr>
        <p:txBody>
          <a:bodyPr anchor="b"/>
          <a:lstStyle/>
          <a:p>
            <a:pPr algn="r"/>
            <a:fld id="{E550918E-8556-4DE1-9B64-E8AC3D59111D}" type="slidenum">
              <a:rPr lang="en-US" sz="1200">
                <a:latin typeface="Calibri" pitchFamily="34" charset="0"/>
              </a:rPr>
              <a:pPr algn="r"/>
              <a:t>13</a:t>
            </a:fld>
            <a:endParaRPr lang="en-US" sz="1200">
              <a:latin typeface="Calibri" pitchFamily="34" charset="0"/>
            </a:endParaRPr>
          </a:p>
        </p:txBody>
      </p:sp>
      <p:sp>
        <p:nvSpPr>
          <p:cNvPr id="32770" name="Rectangle 2"/>
          <p:cNvSpPr>
            <a:spLocks noGrp="1" noRot="1" noChangeAspect="1" noChangeArrowheads="1" noTextEdit="1"/>
          </p:cNvSpPr>
          <p:nvPr>
            <p:ph type="sldImg"/>
          </p:nvPr>
        </p:nvSpPr>
        <p:spPr bwMode="auto">
          <a:xfrm>
            <a:off x="1154113" y="692150"/>
            <a:ext cx="4554537" cy="3416300"/>
          </a:xfrm>
          <a:noFill/>
          <a:ln>
            <a:solidFill>
              <a:srgbClr val="000000"/>
            </a:solidFill>
            <a:miter lim="800000"/>
            <a:headEnd/>
            <a:tailEnd/>
          </a:ln>
        </p:spPr>
      </p:sp>
      <p:sp>
        <p:nvSpPr>
          <p:cNvPr id="32771" name="Rectangle 3"/>
          <p:cNvSpPr>
            <a:spLocks noGrp="1" noChangeArrowheads="1"/>
          </p:cNvSpPr>
          <p:nvPr>
            <p:ph type="body" idx="1"/>
          </p:nvPr>
        </p:nvSpPr>
        <p:spPr bwMode="auto">
          <a:xfrm>
            <a:off x="914400" y="4343400"/>
            <a:ext cx="5029200" cy="4114800"/>
          </a:xfrm>
          <a:noFill/>
        </p:spPr>
        <p:txBody>
          <a:bodyPr wrap="square" lIns="88493" tIns="44247" rIns="88493" bIns="44247" numCol="1" anchor="t" anchorCtr="0" compatLnSpc="1">
            <a:prstTxWarp prst="textNoShape">
              <a:avLst/>
            </a:prstTxWarp>
          </a:bodyPr>
          <a:lstStyle/>
          <a:p>
            <a:pPr>
              <a:spcBef>
                <a:spcPct val="0"/>
              </a:spcBef>
            </a:pPr>
            <a:endParaRPr lang="nl-NL" smtClean="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hyperlink" Target="http://alcs.ma/" TargetMode="External"/><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Line 5"/>
          <p:cNvSpPr>
            <a:spLocks noChangeShapeType="1"/>
          </p:cNvSpPr>
          <p:nvPr/>
        </p:nvSpPr>
        <p:spPr bwMode="auto">
          <a:xfrm flipV="1">
            <a:off x="274638" y="1050925"/>
            <a:ext cx="8594725" cy="0"/>
          </a:xfrm>
          <a:prstGeom prst="line">
            <a:avLst/>
          </a:prstGeom>
          <a:noFill/>
          <a:ln w="9525">
            <a:solidFill>
              <a:schemeClr val="tx1"/>
            </a:solidFill>
            <a:round/>
            <a:headEnd/>
            <a:tailEnd/>
          </a:ln>
          <a:effectLst/>
        </p:spPr>
        <p:txBody>
          <a:bodyPr/>
          <a:lstStyle/>
          <a:p>
            <a:pPr fontAlgn="auto">
              <a:spcBef>
                <a:spcPts val="0"/>
              </a:spcBef>
              <a:spcAft>
                <a:spcPts val="0"/>
              </a:spcAft>
              <a:defRPr/>
            </a:pPr>
            <a:endParaRPr lang="en-US">
              <a:latin typeface="+mn-lt"/>
              <a:cs typeface="+mn-cs"/>
            </a:endParaRPr>
          </a:p>
        </p:txBody>
      </p:sp>
      <p:sp>
        <p:nvSpPr>
          <p:cNvPr id="5" name="Rectangle 6"/>
          <p:cNvSpPr>
            <a:spLocks noChangeArrowheads="1"/>
          </p:cNvSpPr>
          <p:nvPr/>
        </p:nvSpPr>
        <p:spPr bwMode="black">
          <a:xfrm>
            <a:off x="7589838" y="6537325"/>
            <a:ext cx="1371600" cy="184150"/>
          </a:xfrm>
          <a:prstGeom prst="rect">
            <a:avLst/>
          </a:prstGeom>
          <a:noFill/>
          <a:ln w="9525">
            <a:noFill/>
            <a:miter lim="800000"/>
            <a:headEnd/>
            <a:tailEnd/>
          </a:ln>
        </p:spPr>
        <p:txBody>
          <a:bodyPr lIns="92075" tIns="46038" rIns="92075" bIns="46038"/>
          <a:lstStyle/>
          <a:p>
            <a:pPr algn="r" fontAlgn="auto">
              <a:spcBef>
                <a:spcPts val="0"/>
              </a:spcBef>
              <a:spcAft>
                <a:spcPts val="0"/>
              </a:spcAft>
              <a:defRPr/>
            </a:pPr>
            <a:r>
              <a:rPr lang="en-US" sz="800">
                <a:latin typeface="+mn-lt"/>
                <a:cs typeface="+mn-cs"/>
              </a:rPr>
              <a:t>© 2009 IBM Corporation</a:t>
            </a:r>
            <a:endParaRPr lang="en-US">
              <a:latin typeface="+mn-lt"/>
              <a:cs typeface="+mn-cs"/>
            </a:endParaRPr>
          </a:p>
        </p:txBody>
      </p:sp>
      <p:pic>
        <p:nvPicPr>
          <p:cNvPr id="6" name="Picture 18" descr="5300_IBMpos_black_PPT_bkgd"/>
          <p:cNvPicPr>
            <a:picLocks noChangeAspect="1" noChangeArrowheads="1"/>
          </p:cNvPicPr>
          <p:nvPr/>
        </p:nvPicPr>
        <p:blipFill>
          <a:blip r:embed="rId2"/>
          <a:srcRect/>
          <a:stretch>
            <a:fillRect/>
          </a:stretch>
        </p:blipFill>
        <p:spPr bwMode="auto">
          <a:xfrm>
            <a:off x="8280400" y="684213"/>
            <a:ext cx="585788" cy="234950"/>
          </a:xfrm>
          <a:prstGeom prst="rect">
            <a:avLst/>
          </a:prstGeom>
          <a:noFill/>
          <a:ln w="9525">
            <a:noFill/>
            <a:miter lim="800000"/>
            <a:headEnd/>
            <a:tailEnd/>
          </a:ln>
        </p:spPr>
      </p:pic>
      <p:pic>
        <p:nvPicPr>
          <p:cNvPr id="7" name="Picture 11" descr="siteon0">
            <a:hlinkClick r:id="rId3" tooltip="Accueil"/>
          </p:cNvPr>
          <p:cNvPicPr>
            <a:picLocks noChangeAspect="1" noChangeArrowheads="1"/>
          </p:cNvPicPr>
          <p:nvPr userDrawn="1"/>
        </p:nvPicPr>
        <p:blipFill>
          <a:blip r:embed="rId4"/>
          <a:srcRect/>
          <a:stretch>
            <a:fillRect/>
          </a:stretch>
        </p:blipFill>
        <p:spPr bwMode="auto">
          <a:xfrm>
            <a:off x="7232650" y="400050"/>
            <a:ext cx="1047750" cy="895350"/>
          </a:xfrm>
          <a:prstGeom prst="rect">
            <a:avLst/>
          </a:prstGeom>
          <a:noFill/>
          <a:ln w="9525">
            <a:noFill/>
            <a:miter lim="800000"/>
            <a:headEnd/>
            <a:tailEnd/>
          </a:ln>
        </p:spPr>
      </p:pic>
      <p:sp>
        <p:nvSpPr>
          <p:cNvPr id="5123" name="Rectangle 3"/>
          <p:cNvSpPr>
            <a:spLocks noGrp="1" noChangeArrowheads="1"/>
          </p:cNvSpPr>
          <p:nvPr>
            <p:ph type="ctrTitle"/>
          </p:nvPr>
        </p:nvSpPr>
        <p:spPr>
          <a:xfrm>
            <a:off x="139701" y="1417638"/>
            <a:ext cx="5727700" cy="2011362"/>
          </a:xfrm>
        </p:spPr>
        <p:txBody>
          <a:bodyPr anchor="b"/>
          <a:lstStyle>
            <a:lvl1pPr>
              <a:defRPr sz="3500">
                <a:solidFill>
                  <a:schemeClr val="tx1"/>
                </a:solidFill>
              </a:defRPr>
            </a:lvl1pPr>
          </a:lstStyle>
          <a:p>
            <a:r>
              <a:rPr lang="en-US"/>
              <a:t>Click to edit Master title style</a:t>
            </a:r>
          </a:p>
        </p:txBody>
      </p:sp>
      <p:sp>
        <p:nvSpPr>
          <p:cNvPr id="5124" name="Rectangle 4"/>
          <p:cNvSpPr>
            <a:spLocks noGrp="1" noChangeArrowheads="1"/>
          </p:cNvSpPr>
          <p:nvPr>
            <p:ph type="subTitle" idx="1"/>
          </p:nvPr>
        </p:nvSpPr>
        <p:spPr>
          <a:xfrm>
            <a:off x="182563" y="228600"/>
            <a:ext cx="4389437" cy="822325"/>
          </a:xfrm>
        </p:spPr>
        <p:txBody>
          <a:bodyPr anchor="b"/>
          <a:lstStyle>
            <a:lvl1pPr marL="0" indent="0">
              <a:buFont typeface="Wingdings" pitchFamily="2" charset="2"/>
              <a:buNone/>
              <a:defRPr sz="1100"/>
            </a:lvl1pPr>
          </a:lstStyle>
          <a:p>
            <a:r>
              <a:rPr lang="en-US"/>
              <a:t>Click to edit Master sub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7"/>
          <p:cNvSpPr>
            <a:spLocks noGrp="1" noChangeArrowheads="1"/>
          </p:cNvSpPr>
          <p:nvPr>
            <p:ph type="sldNum" sz="quarter" idx="10"/>
          </p:nvPr>
        </p:nvSpPr>
        <p:spPr>
          <a:ln/>
        </p:spPr>
        <p:txBody>
          <a:bodyPr/>
          <a:lstStyle>
            <a:lvl1pPr>
              <a:defRPr/>
            </a:lvl1pPr>
          </a:lstStyle>
          <a:p>
            <a:pPr>
              <a:defRPr/>
            </a:pPr>
            <a:fld id="{29DE5873-E4A9-45B9-8521-3BE2D379F2D4}"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91313" y="593725"/>
            <a:ext cx="2178050" cy="51816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52400" y="593725"/>
            <a:ext cx="6386513" cy="51816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7"/>
          <p:cNvSpPr>
            <a:spLocks noGrp="1" noChangeArrowheads="1"/>
          </p:cNvSpPr>
          <p:nvPr>
            <p:ph type="sldNum" sz="quarter" idx="10"/>
          </p:nvPr>
        </p:nvSpPr>
        <p:spPr>
          <a:ln/>
        </p:spPr>
        <p:txBody>
          <a:bodyPr/>
          <a:lstStyle>
            <a:lvl1pPr>
              <a:defRPr/>
            </a:lvl1pPr>
          </a:lstStyle>
          <a:p>
            <a:pPr>
              <a:defRPr/>
            </a:pPr>
            <a:fld id="{D5490FC0-E669-4B60-9C3D-AE805757ED97}"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82563" y="593725"/>
            <a:ext cx="8686800" cy="70167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152400" y="1295400"/>
            <a:ext cx="8686800" cy="4479925"/>
          </a:xfrm>
        </p:spPr>
        <p:txBody>
          <a:bodyPr/>
          <a:lstStyle/>
          <a:p>
            <a:pPr lvl="0"/>
            <a:endParaRPr lang="en-US" noProof="0"/>
          </a:p>
        </p:txBody>
      </p:sp>
      <p:sp>
        <p:nvSpPr>
          <p:cNvPr id="4" name="Rectangle 7"/>
          <p:cNvSpPr>
            <a:spLocks noGrp="1" noChangeArrowheads="1"/>
          </p:cNvSpPr>
          <p:nvPr>
            <p:ph type="sldNum" sz="quarter" idx="10"/>
          </p:nvPr>
        </p:nvSpPr>
        <p:spPr>
          <a:ln/>
        </p:spPr>
        <p:txBody>
          <a:bodyPr/>
          <a:lstStyle>
            <a:lvl1pPr>
              <a:defRPr/>
            </a:lvl1pPr>
          </a:lstStyle>
          <a:p>
            <a:pPr>
              <a:defRPr/>
            </a:pPr>
            <a:fld id="{38960C0D-97BB-4EDB-A823-C079AB4B6639}"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7"/>
          <p:cNvSpPr>
            <a:spLocks noGrp="1" noChangeArrowheads="1"/>
          </p:cNvSpPr>
          <p:nvPr>
            <p:ph type="sldNum" sz="quarter" idx="10"/>
          </p:nvPr>
        </p:nvSpPr>
        <p:spPr>
          <a:ln/>
        </p:spPr>
        <p:txBody>
          <a:bodyPr/>
          <a:lstStyle>
            <a:lvl1pPr>
              <a:defRPr/>
            </a:lvl1pPr>
          </a:lstStyle>
          <a:p>
            <a:pPr>
              <a:defRPr/>
            </a:pPr>
            <a:fld id="{B24046E9-C69C-4D9A-A7C5-BCA87C51AE9A}"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7"/>
          <p:cNvSpPr>
            <a:spLocks noGrp="1" noChangeArrowheads="1"/>
          </p:cNvSpPr>
          <p:nvPr>
            <p:ph type="sldNum" sz="quarter" idx="10"/>
          </p:nvPr>
        </p:nvSpPr>
        <p:spPr>
          <a:ln/>
        </p:spPr>
        <p:txBody>
          <a:bodyPr/>
          <a:lstStyle>
            <a:lvl1pPr>
              <a:defRPr/>
            </a:lvl1pPr>
          </a:lstStyle>
          <a:p>
            <a:pPr>
              <a:defRPr/>
            </a:pPr>
            <a:fld id="{E7DD8476-4989-432B-BBDF-A5D7BBFF77D9}"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52400" y="1295400"/>
            <a:ext cx="4267200" cy="4479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572000" y="1295400"/>
            <a:ext cx="4267200" cy="4479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7"/>
          <p:cNvSpPr>
            <a:spLocks noGrp="1" noChangeArrowheads="1"/>
          </p:cNvSpPr>
          <p:nvPr>
            <p:ph type="sldNum" sz="quarter" idx="10"/>
          </p:nvPr>
        </p:nvSpPr>
        <p:spPr>
          <a:ln/>
        </p:spPr>
        <p:txBody>
          <a:bodyPr/>
          <a:lstStyle>
            <a:lvl1pPr>
              <a:defRPr/>
            </a:lvl1pPr>
          </a:lstStyle>
          <a:p>
            <a:pPr>
              <a:defRPr/>
            </a:pPr>
            <a:fld id="{D1505A50-9A9E-4F59-B3C4-171CA5D6B531}" type="slidenum">
              <a:rPr lang="en-US"/>
              <a:pPr>
                <a:defRPr/>
              </a:pPr>
              <a:t>‹#›</a:t>
            </a:fld>
            <a:endParaRPr lang="en-US"/>
          </a:p>
        </p:txBody>
      </p:sp>
      <p:sp>
        <p:nvSpPr>
          <p:cNvPr id="6"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7"/>
          <p:cNvSpPr>
            <a:spLocks noGrp="1" noChangeArrowheads="1"/>
          </p:cNvSpPr>
          <p:nvPr>
            <p:ph type="sldNum" sz="quarter" idx="10"/>
          </p:nvPr>
        </p:nvSpPr>
        <p:spPr>
          <a:ln/>
        </p:spPr>
        <p:txBody>
          <a:bodyPr/>
          <a:lstStyle>
            <a:lvl1pPr>
              <a:defRPr/>
            </a:lvl1pPr>
          </a:lstStyle>
          <a:p>
            <a:pPr>
              <a:defRPr/>
            </a:pPr>
            <a:fld id="{A5EE0A2F-BDDB-4320-A002-BDD86C09A424}" type="slidenum">
              <a:rPr lang="en-US"/>
              <a:pPr>
                <a:defRPr/>
              </a:pPr>
              <a:t>‹#›</a:t>
            </a:fld>
            <a:endParaRPr lang="en-US"/>
          </a:p>
        </p:txBody>
      </p:sp>
      <p:sp>
        <p:nvSpPr>
          <p:cNvPr id="8"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7"/>
          <p:cNvSpPr>
            <a:spLocks noGrp="1" noChangeArrowheads="1"/>
          </p:cNvSpPr>
          <p:nvPr>
            <p:ph type="sldNum" sz="quarter" idx="10"/>
          </p:nvPr>
        </p:nvSpPr>
        <p:spPr>
          <a:ln/>
        </p:spPr>
        <p:txBody>
          <a:bodyPr/>
          <a:lstStyle>
            <a:lvl1pPr>
              <a:defRPr/>
            </a:lvl1pPr>
          </a:lstStyle>
          <a:p>
            <a:pPr>
              <a:defRPr/>
            </a:pPr>
            <a:fld id="{25BB87A7-7A1F-4662-A40E-DD2C41C49CCE}" type="slidenum">
              <a:rPr lang="en-US"/>
              <a:pPr>
                <a:defRPr/>
              </a:pPr>
              <a:t>‹#›</a:t>
            </a:fld>
            <a:endParaRPr lang="en-US"/>
          </a:p>
        </p:txBody>
      </p:sp>
      <p:sp>
        <p:nvSpPr>
          <p:cNvPr id="4"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7"/>
          <p:cNvSpPr>
            <a:spLocks noGrp="1" noChangeArrowheads="1"/>
          </p:cNvSpPr>
          <p:nvPr>
            <p:ph type="sldNum" sz="quarter" idx="10"/>
          </p:nvPr>
        </p:nvSpPr>
        <p:spPr>
          <a:ln/>
        </p:spPr>
        <p:txBody>
          <a:bodyPr/>
          <a:lstStyle>
            <a:lvl1pPr>
              <a:defRPr/>
            </a:lvl1pPr>
          </a:lstStyle>
          <a:p>
            <a:pPr>
              <a:defRPr/>
            </a:pPr>
            <a:fld id="{B133B68B-C806-4FB0-8342-A5EBA06F9A7E}" type="slidenum">
              <a:rPr lang="en-US"/>
              <a:pPr>
                <a:defRPr/>
              </a:pPr>
              <a:t>‹#›</a:t>
            </a:fld>
            <a:endParaRPr lang="en-US"/>
          </a:p>
        </p:txBody>
      </p:sp>
      <p:sp>
        <p:nvSpPr>
          <p:cNvPr id="3"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7"/>
          <p:cNvSpPr>
            <a:spLocks noGrp="1" noChangeArrowheads="1"/>
          </p:cNvSpPr>
          <p:nvPr>
            <p:ph type="sldNum" sz="quarter" idx="10"/>
          </p:nvPr>
        </p:nvSpPr>
        <p:spPr>
          <a:ln/>
        </p:spPr>
        <p:txBody>
          <a:bodyPr/>
          <a:lstStyle>
            <a:lvl1pPr>
              <a:defRPr/>
            </a:lvl1pPr>
          </a:lstStyle>
          <a:p>
            <a:pPr>
              <a:defRPr/>
            </a:pPr>
            <a:fld id="{231932B4-A070-4103-A5E7-E26E910E0F31}" type="slidenum">
              <a:rPr lang="en-US"/>
              <a:pPr>
                <a:defRPr/>
              </a:pPr>
              <a:t>‹#›</a:t>
            </a:fld>
            <a:endParaRPr lang="en-US"/>
          </a:p>
        </p:txBody>
      </p:sp>
      <p:sp>
        <p:nvSpPr>
          <p:cNvPr id="6"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7"/>
          <p:cNvSpPr>
            <a:spLocks noGrp="1" noChangeArrowheads="1"/>
          </p:cNvSpPr>
          <p:nvPr>
            <p:ph type="sldNum" sz="quarter" idx="10"/>
          </p:nvPr>
        </p:nvSpPr>
        <p:spPr>
          <a:ln/>
        </p:spPr>
        <p:txBody>
          <a:bodyPr/>
          <a:lstStyle>
            <a:lvl1pPr>
              <a:defRPr/>
            </a:lvl1pPr>
          </a:lstStyle>
          <a:p>
            <a:pPr>
              <a:defRPr/>
            </a:pPr>
            <a:fld id="{365E81AD-E193-494C-B790-918FF0E436B8}" type="slidenum">
              <a:rPr lang="en-US"/>
              <a:pPr>
                <a:defRPr/>
              </a:pPr>
              <a:t>‹#›</a:t>
            </a:fld>
            <a:endParaRPr lang="en-US"/>
          </a:p>
        </p:txBody>
      </p:sp>
      <p:sp>
        <p:nvSpPr>
          <p:cNvPr id="6"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hyperlink" Target="http://alcs.ma/" TargetMode="Externa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274638" y="593725"/>
            <a:ext cx="8686800" cy="7016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itle style</a:t>
            </a:r>
          </a:p>
        </p:txBody>
      </p:sp>
      <p:sp>
        <p:nvSpPr>
          <p:cNvPr id="1027" name="Rectangle 3"/>
          <p:cNvSpPr>
            <a:spLocks noGrp="1" noChangeArrowheads="1"/>
          </p:cNvSpPr>
          <p:nvPr>
            <p:ph type="body" idx="1"/>
          </p:nvPr>
        </p:nvSpPr>
        <p:spPr bwMode="auto">
          <a:xfrm>
            <a:off x="152400" y="1295400"/>
            <a:ext cx="8686800" cy="44799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p:txBody>
      </p:sp>
      <p:sp>
        <p:nvSpPr>
          <p:cNvPr id="4100" name="Line 4"/>
          <p:cNvSpPr>
            <a:spLocks noChangeShapeType="1"/>
          </p:cNvSpPr>
          <p:nvPr/>
        </p:nvSpPr>
        <p:spPr bwMode="auto">
          <a:xfrm flipV="1">
            <a:off x="274638" y="549275"/>
            <a:ext cx="8594725" cy="0"/>
          </a:xfrm>
          <a:prstGeom prst="line">
            <a:avLst/>
          </a:prstGeom>
          <a:noFill/>
          <a:ln w="9525">
            <a:solidFill>
              <a:schemeClr val="tx1"/>
            </a:solidFill>
            <a:round/>
            <a:headEnd/>
            <a:tailEnd/>
          </a:ln>
          <a:effectLst/>
        </p:spPr>
        <p:txBody>
          <a:bodyPr/>
          <a:lstStyle/>
          <a:p>
            <a:pPr fontAlgn="auto">
              <a:spcBef>
                <a:spcPts val="0"/>
              </a:spcBef>
              <a:spcAft>
                <a:spcPts val="0"/>
              </a:spcAft>
              <a:defRPr/>
            </a:pPr>
            <a:endParaRPr lang="en-US" sz="1600">
              <a:latin typeface="+mn-lt"/>
              <a:cs typeface="+mn-cs"/>
            </a:endParaRPr>
          </a:p>
        </p:txBody>
      </p:sp>
      <p:sp>
        <p:nvSpPr>
          <p:cNvPr id="15" name="Rectangle 6"/>
          <p:cNvSpPr>
            <a:spLocks noChangeArrowheads="1"/>
          </p:cNvSpPr>
          <p:nvPr/>
        </p:nvSpPr>
        <p:spPr bwMode="black">
          <a:xfrm>
            <a:off x="7589838" y="6537325"/>
            <a:ext cx="1371600" cy="184150"/>
          </a:xfrm>
          <a:prstGeom prst="rect">
            <a:avLst/>
          </a:prstGeom>
          <a:noFill/>
          <a:ln w="9525">
            <a:noFill/>
            <a:miter lim="800000"/>
            <a:headEnd/>
            <a:tailEnd/>
          </a:ln>
        </p:spPr>
        <p:txBody>
          <a:bodyPr lIns="92075" tIns="46038" rIns="92075" bIns="46038"/>
          <a:lstStyle/>
          <a:p>
            <a:pPr algn="r" fontAlgn="auto">
              <a:spcBef>
                <a:spcPts val="0"/>
              </a:spcBef>
              <a:spcAft>
                <a:spcPts val="0"/>
              </a:spcAft>
              <a:defRPr/>
            </a:pPr>
            <a:r>
              <a:rPr lang="en-US" sz="800" dirty="0">
                <a:latin typeface="+mn-lt"/>
                <a:cs typeface="+mn-cs"/>
              </a:rPr>
              <a:t>© 2013 IBM Corporation</a:t>
            </a:r>
            <a:endParaRPr lang="en-US" dirty="0">
              <a:latin typeface="+mn-lt"/>
              <a:cs typeface="+mn-cs"/>
            </a:endParaRPr>
          </a:p>
        </p:txBody>
      </p:sp>
      <p:sp>
        <p:nvSpPr>
          <p:cNvPr id="16" name="Text Box 46"/>
          <p:cNvSpPr txBox="1">
            <a:spLocks noChangeArrowheads="1"/>
          </p:cNvSpPr>
          <p:nvPr/>
        </p:nvSpPr>
        <p:spPr bwMode="auto">
          <a:xfrm>
            <a:off x="182563" y="136525"/>
            <a:ext cx="7894637" cy="366713"/>
          </a:xfrm>
          <a:prstGeom prst="rect">
            <a:avLst/>
          </a:prstGeom>
          <a:noFill/>
          <a:ln w="9525">
            <a:noFill/>
            <a:miter lim="800000"/>
            <a:headEnd/>
            <a:tailEnd/>
          </a:ln>
        </p:spPr>
        <p:txBody>
          <a:bodyPr tIns="0" bIns="0" anchor="b"/>
          <a:lstStyle/>
          <a:p>
            <a:pPr>
              <a:spcAft>
                <a:spcPts val="900"/>
              </a:spcAft>
              <a:defRPr/>
            </a:pPr>
            <a:r>
              <a:rPr lang="en-US" sz="1200"/>
              <a:t>IBM Corporate Services Corps  - Morocco 5 Team</a:t>
            </a:r>
          </a:p>
        </p:txBody>
      </p:sp>
      <p:sp>
        <p:nvSpPr>
          <p:cNvPr id="4103" name="Rectangle 7"/>
          <p:cNvSpPr>
            <a:spLocks noGrp="1" noChangeArrowheads="1"/>
          </p:cNvSpPr>
          <p:nvPr>
            <p:ph type="sldNum" sz="quarter" idx="4"/>
          </p:nvPr>
        </p:nvSpPr>
        <p:spPr bwMode="black">
          <a:xfrm>
            <a:off x="182563" y="6537325"/>
            <a:ext cx="366712" cy="18415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fontAlgn="auto">
              <a:spcBef>
                <a:spcPts val="0"/>
              </a:spcBef>
              <a:spcAft>
                <a:spcPts val="0"/>
              </a:spcAft>
              <a:defRPr sz="800">
                <a:latin typeface="+mn-lt"/>
                <a:cs typeface="+mn-cs"/>
              </a:defRPr>
            </a:lvl1pPr>
          </a:lstStyle>
          <a:p>
            <a:pPr>
              <a:defRPr/>
            </a:pPr>
            <a:fld id="{109D731D-EDAE-4D5A-B49A-0C5FA97ED1FB}" type="slidenum">
              <a:rPr lang="en-US"/>
              <a:pPr>
                <a:defRPr/>
              </a:pPr>
              <a:t>‹#›</a:t>
            </a:fld>
            <a:endParaRPr lang="en-US"/>
          </a:p>
        </p:txBody>
      </p:sp>
      <p:sp>
        <p:nvSpPr>
          <p:cNvPr id="4104" name="Rectangle 8"/>
          <p:cNvSpPr>
            <a:spLocks noGrp="1" noChangeArrowheads="1"/>
          </p:cNvSpPr>
          <p:nvPr>
            <p:ph type="ftr" sz="quarter" idx="3"/>
          </p:nvPr>
        </p:nvSpPr>
        <p:spPr bwMode="auto">
          <a:xfrm>
            <a:off x="1554163" y="6537325"/>
            <a:ext cx="5943600" cy="18415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fontAlgn="auto">
              <a:spcBef>
                <a:spcPts val="0"/>
              </a:spcBef>
              <a:spcAft>
                <a:spcPts val="0"/>
              </a:spcAft>
              <a:defRPr sz="800">
                <a:latin typeface="+mn-lt"/>
                <a:cs typeface="+mn-cs"/>
              </a:defRPr>
            </a:lvl1pPr>
          </a:lstStyle>
          <a:p>
            <a:pPr>
              <a:defRPr/>
            </a:pPr>
            <a:endParaRPr lang="en-US"/>
          </a:p>
        </p:txBody>
      </p:sp>
      <p:pic>
        <p:nvPicPr>
          <p:cNvPr id="1033" name="Picture 9" descr="5300_IBMpos_black_PPT_bkgd"/>
          <p:cNvPicPr>
            <a:picLocks noChangeAspect="1" noChangeArrowheads="1"/>
          </p:cNvPicPr>
          <p:nvPr/>
        </p:nvPicPr>
        <p:blipFill>
          <a:blip r:embed="rId14"/>
          <a:srcRect/>
          <a:stretch>
            <a:fillRect/>
          </a:stretch>
        </p:blipFill>
        <p:spPr bwMode="auto">
          <a:xfrm>
            <a:off x="8077200" y="146050"/>
            <a:ext cx="585788" cy="234950"/>
          </a:xfrm>
          <a:prstGeom prst="rect">
            <a:avLst/>
          </a:prstGeom>
          <a:noFill/>
          <a:ln w="9525">
            <a:noFill/>
            <a:miter lim="800000"/>
            <a:headEnd/>
            <a:tailEnd/>
          </a:ln>
        </p:spPr>
      </p:pic>
      <p:sp>
        <p:nvSpPr>
          <p:cNvPr id="27650" name="Rectangle 2"/>
          <p:cNvSpPr>
            <a:spLocks noChangeArrowheads="1"/>
          </p:cNvSpPr>
          <p:nvPr userDrawn="1"/>
        </p:nvSpPr>
        <p:spPr bwMode="auto">
          <a:xfrm>
            <a:off x="0" y="0"/>
            <a:ext cx="9144000" cy="0"/>
          </a:xfrm>
          <a:prstGeom prst="rect">
            <a:avLst/>
          </a:prstGeom>
          <a:noFill/>
          <a:ln w="9525">
            <a:noFill/>
            <a:miter lim="800000"/>
            <a:headEnd/>
            <a:tailEnd/>
          </a:ln>
          <a:effectLst/>
        </p:spPr>
        <p:txBody>
          <a:bodyPr wrap="none" anchor="ctr">
            <a:spAutoFit/>
          </a:bodyPr>
          <a:lstStyle/>
          <a:p>
            <a:pPr fontAlgn="auto">
              <a:spcBef>
                <a:spcPts val="0"/>
              </a:spcBef>
              <a:spcAft>
                <a:spcPts val="0"/>
              </a:spcAft>
              <a:defRPr/>
            </a:pPr>
            <a:endParaRPr lang="en-US">
              <a:latin typeface="+mn-lt"/>
              <a:cs typeface="+mn-cs"/>
            </a:endParaRPr>
          </a:p>
        </p:txBody>
      </p:sp>
      <p:pic>
        <p:nvPicPr>
          <p:cNvPr id="1035" name="Picture 13" descr="siteon0">
            <a:hlinkClick r:id="rId15" tooltip="Accueil"/>
          </p:cNvPr>
          <p:cNvPicPr>
            <a:picLocks noChangeAspect="1" noChangeArrowheads="1"/>
          </p:cNvPicPr>
          <p:nvPr userDrawn="1"/>
        </p:nvPicPr>
        <p:blipFill>
          <a:blip r:embed="rId16"/>
          <a:srcRect/>
          <a:stretch>
            <a:fillRect/>
          </a:stretch>
        </p:blipFill>
        <p:spPr bwMode="auto">
          <a:xfrm>
            <a:off x="7913688" y="593725"/>
            <a:ext cx="1047750" cy="89535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3" r:id="rId1"/>
    <p:sldLayoutId id="2147483672" r:id="rId2"/>
    <p:sldLayoutId id="2147483671" r:id="rId3"/>
    <p:sldLayoutId id="2147483670" r:id="rId4"/>
    <p:sldLayoutId id="2147483669" r:id="rId5"/>
    <p:sldLayoutId id="2147483668" r:id="rId6"/>
    <p:sldLayoutId id="2147483667" r:id="rId7"/>
    <p:sldLayoutId id="2147483666" r:id="rId8"/>
    <p:sldLayoutId id="2147483665" r:id="rId9"/>
    <p:sldLayoutId id="2147483664" r:id="rId10"/>
    <p:sldLayoutId id="2147483663" r:id="rId11"/>
    <p:sldLayoutId id="2147483662" r:id="rId12"/>
  </p:sldLayoutIdLst>
  <p:hf hdr="0" ftr="0" dt="0"/>
  <p:txStyles>
    <p:titleStyle>
      <a:lvl1pPr algn="l" rtl="0" eaLnBrk="0" fontAlgn="base" hangingPunct="0">
        <a:lnSpc>
          <a:spcPct val="90000"/>
        </a:lnSpc>
        <a:spcBef>
          <a:spcPct val="0"/>
        </a:spcBef>
        <a:spcAft>
          <a:spcPct val="0"/>
        </a:spcAft>
        <a:defRPr sz="2000">
          <a:solidFill>
            <a:srgbClr val="000000"/>
          </a:solidFill>
          <a:latin typeface="+mj-lt"/>
          <a:ea typeface="+mj-ea"/>
          <a:cs typeface="+mj-cs"/>
        </a:defRPr>
      </a:lvl1pPr>
      <a:lvl2pPr algn="l" rtl="0" eaLnBrk="0" fontAlgn="base" hangingPunct="0">
        <a:lnSpc>
          <a:spcPct val="90000"/>
        </a:lnSpc>
        <a:spcBef>
          <a:spcPct val="0"/>
        </a:spcBef>
        <a:spcAft>
          <a:spcPct val="0"/>
        </a:spcAft>
        <a:defRPr sz="2000">
          <a:solidFill>
            <a:srgbClr val="000000"/>
          </a:solidFill>
          <a:latin typeface="Arial" charset="0"/>
        </a:defRPr>
      </a:lvl2pPr>
      <a:lvl3pPr algn="l" rtl="0" eaLnBrk="0" fontAlgn="base" hangingPunct="0">
        <a:lnSpc>
          <a:spcPct val="90000"/>
        </a:lnSpc>
        <a:spcBef>
          <a:spcPct val="0"/>
        </a:spcBef>
        <a:spcAft>
          <a:spcPct val="0"/>
        </a:spcAft>
        <a:defRPr sz="2000">
          <a:solidFill>
            <a:srgbClr val="000000"/>
          </a:solidFill>
          <a:latin typeface="Arial" charset="0"/>
        </a:defRPr>
      </a:lvl3pPr>
      <a:lvl4pPr algn="l" rtl="0" eaLnBrk="0" fontAlgn="base" hangingPunct="0">
        <a:lnSpc>
          <a:spcPct val="90000"/>
        </a:lnSpc>
        <a:spcBef>
          <a:spcPct val="0"/>
        </a:spcBef>
        <a:spcAft>
          <a:spcPct val="0"/>
        </a:spcAft>
        <a:defRPr sz="2000">
          <a:solidFill>
            <a:srgbClr val="000000"/>
          </a:solidFill>
          <a:latin typeface="Arial" charset="0"/>
        </a:defRPr>
      </a:lvl4pPr>
      <a:lvl5pPr algn="l" rtl="0" eaLnBrk="0" fontAlgn="base" hangingPunct="0">
        <a:lnSpc>
          <a:spcPct val="90000"/>
        </a:lnSpc>
        <a:spcBef>
          <a:spcPct val="0"/>
        </a:spcBef>
        <a:spcAft>
          <a:spcPct val="0"/>
        </a:spcAft>
        <a:defRPr sz="2000">
          <a:solidFill>
            <a:srgbClr val="000000"/>
          </a:solidFill>
          <a:latin typeface="Arial" charset="0"/>
        </a:defRPr>
      </a:lvl5pPr>
      <a:lvl6pPr marL="457200" algn="l" rtl="0" fontAlgn="base">
        <a:lnSpc>
          <a:spcPct val="90000"/>
        </a:lnSpc>
        <a:spcBef>
          <a:spcPct val="0"/>
        </a:spcBef>
        <a:spcAft>
          <a:spcPct val="0"/>
        </a:spcAft>
        <a:defRPr sz="2200">
          <a:solidFill>
            <a:schemeClr val="hlink"/>
          </a:solidFill>
          <a:latin typeface="Arial" charset="0"/>
        </a:defRPr>
      </a:lvl6pPr>
      <a:lvl7pPr marL="914400" algn="l" rtl="0" fontAlgn="base">
        <a:lnSpc>
          <a:spcPct val="90000"/>
        </a:lnSpc>
        <a:spcBef>
          <a:spcPct val="0"/>
        </a:spcBef>
        <a:spcAft>
          <a:spcPct val="0"/>
        </a:spcAft>
        <a:defRPr sz="2200">
          <a:solidFill>
            <a:schemeClr val="hlink"/>
          </a:solidFill>
          <a:latin typeface="Arial" charset="0"/>
        </a:defRPr>
      </a:lvl7pPr>
      <a:lvl8pPr marL="1371600" algn="l" rtl="0" fontAlgn="base">
        <a:lnSpc>
          <a:spcPct val="90000"/>
        </a:lnSpc>
        <a:spcBef>
          <a:spcPct val="0"/>
        </a:spcBef>
        <a:spcAft>
          <a:spcPct val="0"/>
        </a:spcAft>
        <a:defRPr sz="2200">
          <a:solidFill>
            <a:schemeClr val="hlink"/>
          </a:solidFill>
          <a:latin typeface="Arial" charset="0"/>
        </a:defRPr>
      </a:lvl8pPr>
      <a:lvl9pPr marL="1828800" algn="l" rtl="0" fontAlgn="base">
        <a:lnSpc>
          <a:spcPct val="90000"/>
        </a:lnSpc>
        <a:spcBef>
          <a:spcPct val="0"/>
        </a:spcBef>
        <a:spcAft>
          <a:spcPct val="0"/>
        </a:spcAft>
        <a:defRPr sz="2200">
          <a:solidFill>
            <a:schemeClr val="hlink"/>
          </a:solidFill>
          <a:latin typeface="Arial" charset="0"/>
        </a:defRPr>
      </a:lvl9pPr>
    </p:titleStyle>
    <p:bodyStyle>
      <a:lvl1pPr marL="173038" indent="-173038" algn="l" rtl="0" eaLnBrk="0" fontAlgn="base" hangingPunct="0">
        <a:spcBef>
          <a:spcPct val="20000"/>
        </a:spcBef>
        <a:spcAft>
          <a:spcPct val="0"/>
        </a:spcAft>
        <a:buClr>
          <a:schemeClr val="hlink"/>
        </a:buClr>
        <a:buFont typeface="Wingdings" pitchFamily="2" charset="2"/>
        <a:buChar char="§"/>
        <a:defRPr sz="1400">
          <a:solidFill>
            <a:schemeClr val="tx1"/>
          </a:solidFill>
          <a:latin typeface="+mn-lt"/>
          <a:ea typeface="+mn-ea"/>
          <a:cs typeface="+mn-cs"/>
        </a:defRPr>
      </a:lvl1pPr>
      <a:lvl2pPr marL="509588" indent="-163513" algn="l" rtl="0" eaLnBrk="0" fontAlgn="base" hangingPunct="0">
        <a:spcBef>
          <a:spcPct val="20000"/>
        </a:spcBef>
        <a:spcAft>
          <a:spcPct val="0"/>
        </a:spcAft>
        <a:buClr>
          <a:schemeClr val="hlink"/>
        </a:buClr>
        <a:buFont typeface="Arial" charset="0"/>
        <a:buChar char="–"/>
        <a:defRPr sz="1400">
          <a:solidFill>
            <a:schemeClr val="tx1"/>
          </a:solidFill>
          <a:latin typeface="+mn-lt"/>
        </a:defRPr>
      </a:lvl2pPr>
      <a:lvl3pPr marL="855663" indent="-173038" algn="l" rtl="0" eaLnBrk="0" fontAlgn="base" hangingPunct="0">
        <a:spcBef>
          <a:spcPct val="20000"/>
        </a:spcBef>
        <a:spcAft>
          <a:spcPct val="0"/>
        </a:spcAft>
        <a:buClr>
          <a:schemeClr val="hlink"/>
        </a:buClr>
        <a:buChar char="•"/>
        <a:defRPr sz="1400">
          <a:solidFill>
            <a:schemeClr val="tx1"/>
          </a:solidFill>
          <a:latin typeface="+mn-lt"/>
        </a:defRPr>
      </a:lvl3pPr>
      <a:lvl4pPr marL="1203325" indent="-173038" algn="l" rtl="0" eaLnBrk="0" fontAlgn="base" hangingPunct="0">
        <a:spcBef>
          <a:spcPct val="20000"/>
        </a:spcBef>
        <a:spcAft>
          <a:spcPct val="0"/>
        </a:spcAft>
        <a:buClr>
          <a:schemeClr val="bg1"/>
        </a:buClr>
        <a:defRPr sz="1600">
          <a:solidFill>
            <a:schemeClr val="bg1"/>
          </a:solidFill>
          <a:latin typeface="+mn-lt"/>
        </a:defRPr>
      </a:lvl4pPr>
      <a:lvl5pPr marL="1539875" indent="-163513" algn="l" rtl="0" eaLnBrk="0" fontAlgn="base" hangingPunct="0">
        <a:spcBef>
          <a:spcPct val="20000"/>
        </a:spcBef>
        <a:spcAft>
          <a:spcPct val="0"/>
        </a:spcAft>
        <a:buClr>
          <a:schemeClr val="bg1"/>
        </a:buClr>
        <a:buChar char="»"/>
        <a:defRPr sz="1600">
          <a:solidFill>
            <a:schemeClr val="bg1"/>
          </a:solidFill>
          <a:latin typeface="+mn-lt"/>
        </a:defRPr>
      </a:lvl5pPr>
      <a:lvl6pPr marL="1997075" indent="-163513" algn="l" rtl="0" fontAlgn="base">
        <a:spcBef>
          <a:spcPct val="20000"/>
        </a:spcBef>
        <a:spcAft>
          <a:spcPct val="0"/>
        </a:spcAft>
        <a:buClr>
          <a:schemeClr val="bg1"/>
        </a:buClr>
        <a:buChar char="»"/>
        <a:defRPr sz="1600">
          <a:solidFill>
            <a:schemeClr val="bg1"/>
          </a:solidFill>
          <a:latin typeface="+mn-lt"/>
        </a:defRPr>
      </a:lvl6pPr>
      <a:lvl7pPr marL="2454275" indent="-163513" algn="l" rtl="0" fontAlgn="base">
        <a:spcBef>
          <a:spcPct val="20000"/>
        </a:spcBef>
        <a:spcAft>
          <a:spcPct val="0"/>
        </a:spcAft>
        <a:buClr>
          <a:schemeClr val="bg1"/>
        </a:buClr>
        <a:buChar char="»"/>
        <a:defRPr sz="1600">
          <a:solidFill>
            <a:schemeClr val="bg1"/>
          </a:solidFill>
          <a:latin typeface="+mn-lt"/>
        </a:defRPr>
      </a:lvl7pPr>
      <a:lvl8pPr marL="2911475" indent="-163513" algn="l" rtl="0" fontAlgn="base">
        <a:spcBef>
          <a:spcPct val="20000"/>
        </a:spcBef>
        <a:spcAft>
          <a:spcPct val="0"/>
        </a:spcAft>
        <a:buClr>
          <a:schemeClr val="bg1"/>
        </a:buClr>
        <a:buChar char="»"/>
        <a:defRPr sz="1600">
          <a:solidFill>
            <a:schemeClr val="bg1"/>
          </a:solidFill>
          <a:latin typeface="+mn-lt"/>
        </a:defRPr>
      </a:lvl8pPr>
      <a:lvl9pPr marL="3368675" indent="-163513" algn="l" rtl="0" fontAlgn="base">
        <a:spcBef>
          <a:spcPct val="20000"/>
        </a:spcBef>
        <a:spcAft>
          <a:spcPct val="0"/>
        </a:spcAft>
        <a:buClr>
          <a:schemeClr val="bg1"/>
        </a:buClr>
        <a:buChar char="»"/>
        <a:defRPr sz="1600">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Layout" Target="../slideLayouts/slideLayout1.xml"/><Relationship Id="rId1" Type="http://schemas.openxmlformats.org/officeDocument/2006/relationships/tags" Target="../tags/tag1.xml"/><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tags" Target="../tags/tag4.xml"/><Relationship Id="rId7" Type="http://schemas.openxmlformats.org/officeDocument/2006/relationships/tags" Target="../tags/tag8.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ags" Target="../tags/tag5.xml"/><Relationship Id="rId9"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42.wmf"/><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8" Type="http://schemas.openxmlformats.org/officeDocument/2006/relationships/tags" Target="../tags/tag17.xml"/><Relationship Id="rId3" Type="http://schemas.openxmlformats.org/officeDocument/2006/relationships/tags" Target="../tags/tag12.xml"/><Relationship Id="rId7" Type="http://schemas.openxmlformats.org/officeDocument/2006/relationships/tags" Target="../tags/tag16.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5" Type="http://schemas.openxmlformats.org/officeDocument/2006/relationships/tags" Target="../tags/tag14.xml"/><Relationship Id="rId4" Type="http://schemas.openxmlformats.org/officeDocument/2006/relationships/tags" Target="../tags/tag13.xml"/><Relationship Id="rId9"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11.jpeg"/><Relationship Id="rId13" Type="http://schemas.openxmlformats.org/officeDocument/2006/relationships/image" Target="../media/image16.jpeg"/><Relationship Id="rId18" Type="http://schemas.openxmlformats.org/officeDocument/2006/relationships/image" Target="../media/image21.jpeg"/><Relationship Id="rId26" Type="http://schemas.openxmlformats.org/officeDocument/2006/relationships/image" Target="../media/image28.jpeg"/><Relationship Id="rId3" Type="http://schemas.openxmlformats.org/officeDocument/2006/relationships/image" Target="../media/image6.jpeg"/><Relationship Id="rId21" Type="http://schemas.openxmlformats.org/officeDocument/2006/relationships/image" Target="../media/image4.jpeg"/><Relationship Id="rId34" Type="http://schemas.openxmlformats.org/officeDocument/2006/relationships/image" Target="../media/image36.jpeg"/><Relationship Id="rId7" Type="http://schemas.openxmlformats.org/officeDocument/2006/relationships/image" Target="../media/image10.jpeg"/><Relationship Id="rId12" Type="http://schemas.openxmlformats.org/officeDocument/2006/relationships/image" Target="../media/image15.jpeg"/><Relationship Id="rId17" Type="http://schemas.openxmlformats.org/officeDocument/2006/relationships/image" Target="../media/image20.jpeg"/><Relationship Id="rId25" Type="http://schemas.openxmlformats.org/officeDocument/2006/relationships/image" Target="../media/image27.jpeg"/><Relationship Id="rId33" Type="http://schemas.openxmlformats.org/officeDocument/2006/relationships/image" Target="../media/image35.jpeg"/><Relationship Id="rId2" Type="http://schemas.openxmlformats.org/officeDocument/2006/relationships/image" Target="../media/image5.png"/><Relationship Id="rId16" Type="http://schemas.openxmlformats.org/officeDocument/2006/relationships/image" Target="../media/image19.jpeg"/><Relationship Id="rId20" Type="http://schemas.openxmlformats.org/officeDocument/2006/relationships/image" Target="../media/image23.jpeg"/><Relationship Id="rId29" Type="http://schemas.openxmlformats.org/officeDocument/2006/relationships/image" Target="../media/image31.jpeg"/><Relationship Id="rId1" Type="http://schemas.openxmlformats.org/officeDocument/2006/relationships/slideLayout" Target="../slideLayouts/slideLayout1.xml"/><Relationship Id="rId6" Type="http://schemas.openxmlformats.org/officeDocument/2006/relationships/image" Target="../media/image9.jpeg"/><Relationship Id="rId11" Type="http://schemas.openxmlformats.org/officeDocument/2006/relationships/image" Target="../media/image14.jpeg"/><Relationship Id="rId24" Type="http://schemas.openxmlformats.org/officeDocument/2006/relationships/image" Target="../media/image26.jpeg"/><Relationship Id="rId32" Type="http://schemas.openxmlformats.org/officeDocument/2006/relationships/image" Target="../media/image34.png"/><Relationship Id="rId5" Type="http://schemas.openxmlformats.org/officeDocument/2006/relationships/image" Target="../media/image8.jpeg"/><Relationship Id="rId15" Type="http://schemas.openxmlformats.org/officeDocument/2006/relationships/image" Target="../media/image18.jpeg"/><Relationship Id="rId23" Type="http://schemas.openxmlformats.org/officeDocument/2006/relationships/image" Target="../media/image25.jpeg"/><Relationship Id="rId28" Type="http://schemas.openxmlformats.org/officeDocument/2006/relationships/image" Target="../media/image30.jpeg"/><Relationship Id="rId10" Type="http://schemas.openxmlformats.org/officeDocument/2006/relationships/image" Target="../media/image13.jpeg"/><Relationship Id="rId19" Type="http://schemas.openxmlformats.org/officeDocument/2006/relationships/image" Target="../media/image22.jpeg"/><Relationship Id="rId31" Type="http://schemas.openxmlformats.org/officeDocument/2006/relationships/image" Target="../media/image33.jpeg"/><Relationship Id="rId4" Type="http://schemas.openxmlformats.org/officeDocument/2006/relationships/image" Target="../media/image7.jpeg"/><Relationship Id="rId9" Type="http://schemas.openxmlformats.org/officeDocument/2006/relationships/image" Target="../media/image12.jpeg"/><Relationship Id="rId14" Type="http://schemas.openxmlformats.org/officeDocument/2006/relationships/image" Target="../media/image17.jpeg"/><Relationship Id="rId22" Type="http://schemas.openxmlformats.org/officeDocument/2006/relationships/image" Target="../media/image24.jpeg"/><Relationship Id="rId27" Type="http://schemas.openxmlformats.org/officeDocument/2006/relationships/image" Target="../media/image29.jpeg"/><Relationship Id="rId30" Type="http://schemas.openxmlformats.org/officeDocument/2006/relationships/image" Target="../media/image32.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37.jpeg"/><Relationship Id="rId7" Type="http://schemas.openxmlformats.org/officeDocument/2006/relationships/image" Target="../media/image41.jpe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40.jpeg"/><Relationship Id="rId5" Type="http://schemas.openxmlformats.org/officeDocument/2006/relationships/image" Target="../media/image39.jpeg"/><Relationship Id="rId4" Type="http://schemas.openxmlformats.org/officeDocument/2006/relationships/image" Target="../media/image38.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Title 1"/>
          <p:cNvSpPr>
            <a:spLocks noGrp="1"/>
          </p:cNvSpPr>
          <p:nvPr>
            <p:ph type="ctrTitle"/>
          </p:nvPr>
        </p:nvSpPr>
        <p:spPr>
          <a:xfrm>
            <a:off x="139700" y="1951038"/>
            <a:ext cx="8840788" cy="2011362"/>
          </a:xfrm>
        </p:spPr>
        <p:txBody>
          <a:bodyPr/>
          <a:lstStyle/>
          <a:p>
            <a:pPr eaLnBrk="1" hangingPunct="1"/>
            <a:r>
              <a:rPr lang="en-US" sz="2800" smtClean="0"/>
              <a:t>IT Solutions for Business Impact and Sustainability</a:t>
            </a:r>
            <a:r>
              <a:rPr lang="en-US" sz="3200" smtClean="0"/>
              <a:t> </a:t>
            </a:r>
            <a:r>
              <a:rPr lang="en-US" sz="2400" i="1" smtClean="0"/>
              <a:t>Association de lutte contre la sida (ALCS)</a:t>
            </a:r>
            <a:r>
              <a:rPr lang="en-US" sz="3200" smtClean="0"/>
              <a:t> </a:t>
            </a:r>
            <a:br>
              <a:rPr lang="en-US" sz="3200" smtClean="0"/>
            </a:br>
            <a:r>
              <a:rPr lang="en-US" sz="3200" smtClean="0"/>
              <a:t/>
            </a:r>
            <a:br>
              <a:rPr lang="en-US" sz="3200" smtClean="0"/>
            </a:br>
            <a:r>
              <a:rPr lang="en-US" sz="2000" i="1" smtClean="0"/>
              <a:t/>
            </a:r>
            <a:br>
              <a:rPr lang="en-US" sz="2000" i="1" smtClean="0"/>
            </a:br>
            <a:r>
              <a:rPr lang="en-US" sz="2000" i="1" smtClean="0"/>
              <a:t>May 23, 2014</a:t>
            </a:r>
          </a:p>
        </p:txBody>
      </p:sp>
      <p:sp>
        <p:nvSpPr>
          <p:cNvPr id="15362" name="Subtitle 2"/>
          <p:cNvSpPr>
            <a:spLocks noGrp="1"/>
          </p:cNvSpPr>
          <p:nvPr>
            <p:ph type="subTitle" idx="1"/>
          </p:nvPr>
        </p:nvSpPr>
        <p:spPr/>
        <p:txBody>
          <a:bodyPr/>
          <a:lstStyle/>
          <a:p>
            <a:pPr eaLnBrk="1" hangingPunct="1"/>
            <a:r>
              <a:rPr lang="en-US" sz="1200" smtClean="0"/>
              <a:t>IBM Corporate Services Corps – Morocco 5 Team</a:t>
            </a:r>
          </a:p>
        </p:txBody>
      </p:sp>
      <p:sp>
        <p:nvSpPr>
          <p:cNvPr id="15363" name="McK Disclaimer"/>
          <p:cNvSpPr>
            <a:spLocks noChangeArrowheads="1"/>
          </p:cNvSpPr>
          <p:nvPr>
            <p:custDataLst>
              <p:tags r:id="rId1"/>
            </p:custDataLst>
          </p:nvPr>
        </p:nvSpPr>
        <p:spPr bwMode="gray">
          <a:xfrm>
            <a:off x="274638" y="6070600"/>
            <a:ext cx="4572000" cy="682625"/>
          </a:xfrm>
          <a:prstGeom prst="rect">
            <a:avLst/>
          </a:prstGeom>
          <a:noFill/>
          <a:ln w="9525">
            <a:noFill/>
            <a:miter lim="800000"/>
            <a:headEnd/>
            <a:tailEnd/>
          </a:ln>
        </p:spPr>
        <p:txBody>
          <a:bodyPr lIns="0" tIns="46796" rIns="89996" bIns="46796" anchor="b"/>
          <a:lstStyle/>
          <a:p>
            <a:pPr defTabSz="804863" eaLnBrk="0" hangingPunct="0"/>
            <a:r>
              <a:rPr lang="en-US" altLang="zh-CN" sz="800">
                <a:ea typeface="SimSun" pitchFamily="2" charset="-122"/>
              </a:rPr>
              <a:t>This report contains information that is confidential and proprietary to IBM and is solely for the use of IBM personnel.  No part of it may be used, circulated, quoted, or reproduced for distribution outside IBM.  If you are not the intended recipient of this report, you are hereby notified that the use, circulation, quoting, or reproducing of this report is strictly prohibited and may be unlawful.</a:t>
            </a:r>
          </a:p>
        </p:txBody>
      </p:sp>
      <p:pic>
        <p:nvPicPr>
          <p:cNvPr id="15364" name="Picture 6" descr="https://encrypted-tbn0.gstatic.com/images?q=tbn:ANd9GcTXcx3aw8VI6FYeC42Tj1wTedCjPjk9SU7sFAI57lCz3wFKtDnBAQ"/>
          <p:cNvPicPr>
            <a:picLocks noChangeAspect="1" noChangeArrowheads="1"/>
          </p:cNvPicPr>
          <p:nvPr/>
        </p:nvPicPr>
        <p:blipFill>
          <a:blip r:embed="rId3"/>
          <a:srcRect/>
          <a:stretch>
            <a:fillRect/>
          </a:stretch>
        </p:blipFill>
        <p:spPr bwMode="auto">
          <a:xfrm>
            <a:off x="7062788" y="4878388"/>
            <a:ext cx="1917700" cy="1874837"/>
          </a:xfrm>
          <a:prstGeom prst="rect">
            <a:avLst/>
          </a:prstGeom>
          <a:noFill/>
          <a:ln w="9525">
            <a:noFill/>
            <a:miter lim="800000"/>
            <a:headEnd/>
            <a:tailEnd/>
          </a:ln>
        </p:spPr>
      </p:pic>
      <p:pic>
        <p:nvPicPr>
          <p:cNvPr id="15365" name="Picture 6" descr="ANd9GcQATPMSx9hOy6Hal3F3MTebmCT3b6p3W_xanMT97KgQDy3N7hdEYw"/>
          <p:cNvPicPr>
            <a:picLocks noChangeAspect="1" noChangeArrowheads="1"/>
          </p:cNvPicPr>
          <p:nvPr/>
        </p:nvPicPr>
        <p:blipFill>
          <a:blip r:embed="rId4"/>
          <a:srcRect/>
          <a:stretch>
            <a:fillRect/>
          </a:stretch>
        </p:blipFill>
        <p:spPr bwMode="auto">
          <a:xfrm>
            <a:off x="274638" y="5195888"/>
            <a:ext cx="1028700" cy="87471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Slide Number Placeholder 3"/>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DC78EB0B-CE79-458F-B57D-1D6293BCCDFB}" type="slidenum">
              <a:rPr lang="en-US" sz="800"/>
              <a:pPr/>
              <a:t>10</a:t>
            </a:fld>
            <a:endParaRPr lang="en-US" sz="800"/>
          </a:p>
        </p:txBody>
      </p:sp>
      <p:sp>
        <p:nvSpPr>
          <p:cNvPr id="27650" name="Rectangle 2"/>
          <p:cNvSpPr>
            <a:spLocks noGrp="1" noChangeArrowheads="1"/>
          </p:cNvSpPr>
          <p:nvPr>
            <p:ph type="body" idx="4294967295"/>
          </p:nvPr>
        </p:nvSpPr>
        <p:spPr>
          <a:xfrm>
            <a:off x="1476375" y="1125538"/>
            <a:ext cx="7392988" cy="4937125"/>
          </a:xfrm>
        </p:spPr>
        <p:txBody>
          <a:bodyPr/>
          <a:lstStyle/>
          <a:p>
            <a:pPr eaLnBrk="1" hangingPunct="1"/>
            <a:endParaRPr lang="de-DE" smtClean="0"/>
          </a:p>
          <a:p>
            <a:pPr eaLnBrk="1" hangingPunct="1"/>
            <a:endParaRPr lang="de-DE" smtClean="0"/>
          </a:p>
          <a:p>
            <a:pPr eaLnBrk="1" hangingPunct="1"/>
            <a:endParaRPr lang="de-DE" smtClean="0"/>
          </a:p>
          <a:p>
            <a:pPr eaLnBrk="1" hangingPunct="1"/>
            <a:r>
              <a:rPr lang="de-DE" smtClean="0"/>
              <a:t>Current business model &amp; SWOT</a:t>
            </a:r>
          </a:p>
          <a:p>
            <a:pPr eaLnBrk="1" hangingPunct="1"/>
            <a:endParaRPr lang="de-DE" smtClean="0"/>
          </a:p>
        </p:txBody>
      </p:sp>
      <p:grpSp>
        <p:nvGrpSpPr>
          <p:cNvPr id="27651" name="Group 3"/>
          <p:cNvGrpSpPr>
            <a:grpSpLocks/>
          </p:cNvGrpSpPr>
          <p:nvPr/>
        </p:nvGrpSpPr>
        <p:grpSpPr bwMode="auto">
          <a:xfrm>
            <a:off x="0" y="1408113"/>
            <a:ext cx="8869363" cy="503237"/>
            <a:chOff x="0" y="1071"/>
            <a:chExt cx="5587" cy="317"/>
          </a:xfrm>
        </p:grpSpPr>
        <p:sp>
          <p:nvSpPr>
            <p:cNvPr id="27667" name="Oval 4"/>
            <p:cNvSpPr>
              <a:spLocks noChangeArrowheads="1"/>
            </p:cNvSpPr>
            <p:nvPr>
              <p:custDataLst>
                <p:tags r:id="rId7"/>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1</a:t>
              </a:r>
            </a:p>
          </p:txBody>
        </p:sp>
        <p:sp>
          <p:nvSpPr>
            <p:cNvPr id="27668" name="Rectangle 5"/>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27669" name="Rectangle 6"/>
            <p:cNvSpPr>
              <a:spLocks noChangeArrowheads="1"/>
            </p:cNvSpPr>
            <p:nvPr>
              <p:custDataLst>
                <p:tags r:id="rId8"/>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27670" name="Rectangle 7"/>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t>Analysis and Assessment</a:t>
              </a:r>
              <a:endParaRPr lang="de-DE"/>
            </a:p>
          </p:txBody>
        </p:sp>
      </p:grpSp>
      <p:grpSp>
        <p:nvGrpSpPr>
          <p:cNvPr id="27652" name="Group 8"/>
          <p:cNvGrpSpPr>
            <a:grpSpLocks/>
          </p:cNvGrpSpPr>
          <p:nvPr/>
        </p:nvGrpSpPr>
        <p:grpSpPr bwMode="auto">
          <a:xfrm>
            <a:off x="0" y="3221038"/>
            <a:ext cx="8869363" cy="503237"/>
            <a:chOff x="0" y="1071"/>
            <a:chExt cx="5587" cy="317"/>
          </a:xfrm>
        </p:grpSpPr>
        <p:sp>
          <p:nvSpPr>
            <p:cNvPr id="27663" name="Oval 9"/>
            <p:cNvSpPr>
              <a:spLocks noChangeArrowheads="1"/>
            </p:cNvSpPr>
            <p:nvPr>
              <p:custDataLst>
                <p:tags r:id="rId5"/>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3</a:t>
              </a:r>
            </a:p>
          </p:txBody>
        </p:sp>
        <p:sp>
          <p:nvSpPr>
            <p:cNvPr id="27664" name="Rectangle 1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27665" name="Rectangle 11"/>
            <p:cNvSpPr>
              <a:spLocks noChangeArrowheads="1"/>
            </p:cNvSpPr>
            <p:nvPr>
              <p:custDataLst>
                <p:tags r:id="rId6"/>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27666" name="Rectangle 1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Planning &amp; Next Steps</a:t>
              </a:r>
            </a:p>
          </p:txBody>
        </p:sp>
      </p:grpSp>
      <p:grpSp>
        <p:nvGrpSpPr>
          <p:cNvPr id="27653" name="Group 13"/>
          <p:cNvGrpSpPr>
            <a:grpSpLocks/>
          </p:cNvGrpSpPr>
          <p:nvPr/>
        </p:nvGrpSpPr>
        <p:grpSpPr bwMode="auto">
          <a:xfrm>
            <a:off x="0" y="2590800"/>
            <a:ext cx="8869363" cy="503238"/>
            <a:chOff x="0" y="1071"/>
            <a:chExt cx="5587" cy="317"/>
          </a:xfrm>
        </p:grpSpPr>
        <p:sp>
          <p:nvSpPr>
            <p:cNvPr id="27659" name="Oval 14"/>
            <p:cNvSpPr>
              <a:spLocks noChangeArrowheads="1"/>
            </p:cNvSpPr>
            <p:nvPr>
              <p:custDataLst>
                <p:tags r:id="rId3"/>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2</a:t>
              </a:r>
            </a:p>
          </p:txBody>
        </p:sp>
        <p:sp>
          <p:nvSpPr>
            <p:cNvPr id="27660" name="Rectangle 15"/>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27661" name="Rectangle 16"/>
            <p:cNvSpPr>
              <a:spLocks noChangeArrowheads="1"/>
            </p:cNvSpPr>
            <p:nvPr>
              <p:custDataLst>
                <p:tags r:id="rId4"/>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27662" name="Rectangle 17"/>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Design Recommendations</a:t>
              </a:r>
            </a:p>
          </p:txBody>
        </p:sp>
      </p:grpSp>
      <p:grpSp>
        <p:nvGrpSpPr>
          <p:cNvPr id="27654" name="Group 18"/>
          <p:cNvGrpSpPr>
            <a:grpSpLocks/>
          </p:cNvGrpSpPr>
          <p:nvPr/>
        </p:nvGrpSpPr>
        <p:grpSpPr bwMode="auto">
          <a:xfrm>
            <a:off x="-9525" y="3868738"/>
            <a:ext cx="8869363" cy="503237"/>
            <a:chOff x="0" y="1071"/>
            <a:chExt cx="5587" cy="317"/>
          </a:xfrm>
        </p:grpSpPr>
        <p:sp>
          <p:nvSpPr>
            <p:cNvPr id="27655" name="Oval 19"/>
            <p:cNvSpPr>
              <a:spLocks noChangeArrowheads="1"/>
            </p:cNvSpPr>
            <p:nvPr>
              <p:custDataLst>
                <p:tags r:id="rId1"/>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4</a:t>
              </a:r>
            </a:p>
          </p:txBody>
        </p:sp>
        <p:sp>
          <p:nvSpPr>
            <p:cNvPr id="27656" name="Rectangle 2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27657" name="Rectangle 21"/>
            <p:cNvSpPr>
              <a:spLocks noChangeArrowheads="1"/>
            </p:cNvSpPr>
            <p:nvPr>
              <p:custDataLst>
                <p:tags r:id="rId2"/>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27658" name="Rectangle 2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ppendix</a:t>
              </a:r>
            </a:p>
          </p:txBody>
        </p:sp>
      </p:gr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8706" name="Slide Number Placeholder 2"/>
          <p:cNvSpPr>
            <a:spLocks noGrp="1"/>
          </p:cNvSpPr>
          <p:nvPr>
            <p:ph type="sldNum" sz="quarter" idx="10"/>
          </p:nvPr>
        </p:nvSpPr>
        <p:spPr/>
        <p:txBody>
          <a:bodyPr/>
          <a:lstStyle/>
          <a:p>
            <a:pPr fontAlgn="base">
              <a:spcBef>
                <a:spcPct val="0"/>
              </a:spcBef>
              <a:spcAft>
                <a:spcPct val="0"/>
              </a:spcAft>
              <a:defRPr/>
            </a:pPr>
            <a:fld id="{74DE4153-A141-4163-A44D-7EC148B7F2DD}" type="slidenum">
              <a:rPr lang="en-US" smtClean="0">
                <a:cs typeface="Arial" charset="0"/>
              </a:rPr>
              <a:pPr fontAlgn="base">
                <a:spcBef>
                  <a:spcPct val="0"/>
                </a:spcBef>
                <a:spcAft>
                  <a:spcPct val="0"/>
                </a:spcAft>
                <a:defRPr/>
              </a:pPr>
              <a:t>11</a:t>
            </a:fld>
            <a:endParaRPr lang="en-US" smtClean="0">
              <a:cs typeface="Arial" charset="0"/>
            </a:endParaRPr>
          </a:p>
        </p:txBody>
      </p:sp>
      <p:sp>
        <p:nvSpPr>
          <p:cNvPr id="22530" name="Rectangle 7"/>
          <p:cNvSpPr>
            <a:spLocks noChangeArrowheads="1"/>
          </p:cNvSpPr>
          <p:nvPr/>
        </p:nvSpPr>
        <p:spPr bwMode="auto">
          <a:xfrm>
            <a:off x="3829050" y="1287463"/>
            <a:ext cx="4027488" cy="4003675"/>
          </a:xfrm>
          <a:prstGeom prst="rect">
            <a:avLst/>
          </a:prstGeom>
          <a:noFill/>
          <a:ln w="9525" algn="ctr">
            <a:noFill/>
            <a:miter lim="800000"/>
            <a:headEnd/>
            <a:tailEnd/>
          </a:ln>
        </p:spPr>
        <p:txBody>
          <a:bodyPr lIns="91436" tIns="45716" rIns="91436" bIns="45716"/>
          <a:lstStyle/>
          <a:p>
            <a:pPr marL="265113" indent="-265113">
              <a:spcBef>
                <a:spcPct val="30000"/>
              </a:spcBef>
              <a:buClr>
                <a:srgbClr val="9999FF"/>
              </a:buClr>
              <a:buFont typeface="Wingdings" pitchFamily="2" charset="2"/>
              <a:buChar char="§"/>
            </a:pPr>
            <a:endParaRPr lang="de-DE" sz="500">
              <a:latin typeface="Helvetica" pitchFamily="34" charset="0"/>
            </a:endParaRPr>
          </a:p>
          <a:p>
            <a:pPr marL="265113" indent="-265113">
              <a:spcBef>
                <a:spcPct val="30000"/>
              </a:spcBef>
              <a:buClr>
                <a:srgbClr val="9999FF"/>
              </a:buClr>
              <a:buFont typeface="Wingdings" pitchFamily="2" charset="2"/>
              <a:buChar char="§"/>
            </a:pPr>
            <a:r>
              <a:rPr lang="en-US" sz="1600" b="1">
                <a:latin typeface="Helvetica" pitchFamily="34" charset="0"/>
              </a:rPr>
              <a:t>Goal: </a:t>
            </a:r>
            <a:r>
              <a:rPr lang="en-US" sz="1600">
                <a:latin typeface="Helvetica" pitchFamily="34" charset="0"/>
              </a:rPr>
              <a:t>Develop an information management and integration approach for effectively managing project information and related outcomes </a:t>
            </a:r>
          </a:p>
          <a:p>
            <a:pPr marL="265113" indent="-265113">
              <a:spcBef>
                <a:spcPct val="30000"/>
              </a:spcBef>
              <a:buClr>
                <a:srgbClr val="9999FF"/>
              </a:buClr>
              <a:buFont typeface="Wingdings" pitchFamily="2" charset="2"/>
              <a:buChar char="§"/>
            </a:pPr>
            <a:r>
              <a:rPr lang="en-US" sz="1600" b="1"/>
              <a:t>Scope: </a:t>
            </a:r>
            <a:r>
              <a:rPr lang="en-US" sz="1600"/>
              <a:t> IT infrastructure assessment for headquarters; information management and processes requirements gathering; logical database design and draft SOW</a:t>
            </a:r>
            <a:endParaRPr lang="en-US" sz="1600" b="1">
              <a:latin typeface="Helvetica" pitchFamily="34" charset="0"/>
            </a:endParaRPr>
          </a:p>
          <a:p>
            <a:pPr marL="265113" indent="-265113">
              <a:spcBef>
                <a:spcPct val="30000"/>
              </a:spcBef>
              <a:buClr>
                <a:srgbClr val="9999FF"/>
              </a:buClr>
              <a:buFont typeface="Wingdings" pitchFamily="2" charset="2"/>
              <a:buChar char="§"/>
            </a:pPr>
            <a:r>
              <a:rPr lang="en-US" sz="1600" b="1">
                <a:latin typeface="Helvetica" pitchFamily="34" charset="0"/>
              </a:rPr>
              <a:t>Approach: </a:t>
            </a:r>
            <a:r>
              <a:rPr lang="en-US" sz="1600">
                <a:latin typeface="Helvetica" pitchFamily="34" charset="0"/>
              </a:rPr>
              <a:t>Interviews with current leaders, as-is assessment, validation of initial requirements, design development approach    </a:t>
            </a:r>
          </a:p>
          <a:p>
            <a:pPr marL="265113" indent="-265113">
              <a:spcBef>
                <a:spcPct val="30000"/>
              </a:spcBef>
              <a:buClr>
                <a:srgbClr val="9999FF"/>
              </a:buClr>
              <a:buFont typeface="Wingdings" pitchFamily="2" charset="2"/>
              <a:buChar char="§"/>
            </a:pPr>
            <a:r>
              <a:rPr lang="en-US" sz="1600" b="1">
                <a:latin typeface="Helvetica" pitchFamily="34" charset="0"/>
              </a:rPr>
              <a:t>Time: </a:t>
            </a:r>
            <a:r>
              <a:rPr lang="en-US" sz="1600">
                <a:latin typeface="Helvetica" pitchFamily="34" charset="0"/>
              </a:rPr>
              <a:t>April 28 – May 23</a:t>
            </a:r>
          </a:p>
          <a:p>
            <a:pPr marL="265113" indent="-265113">
              <a:spcBef>
                <a:spcPct val="30000"/>
              </a:spcBef>
              <a:buClr>
                <a:srgbClr val="9999FF"/>
              </a:buClr>
              <a:buFont typeface="Wingdings" pitchFamily="2" charset="2"/>
              <a:buChar char="§"/>
            </a:pPr>
            <a:r>
              <a:rPr lang="en-US" sz="1600" b="1">
                <a:latin typeface="Helvetica" pitchFamily="34" charset="0"/>
              </a:rPr>
              <a:t>Key stakeholders:</a:t>
            </a:r>
            <a:r>
              <a:rPr lang="en-US" sz="1600">
                <a:latin typeface="Helvetica" pitchFamily="34" charset="0"/>
              </a:rPr>
              <a:t> </a:t>
            </a:r>
          </a:p>
          <a:p>
            <a:pPr marL="722313" lvl="1" indent="-265113">
              <a:spcBef>
                <a:spcPct val="30000"/>
              </a:spcBef>
              <a:buClr>
                <a:srgbClr val="9999FF"/>
              </a:buClr>
              <a:buFont typeface="Wingdings" pitchFamily="2" charset="2"/>
              <a:buChar char="§"/>
            </a:pPr>
            <a:r>
              <a:rPr lang="en-US" sz="1600">
                <a:latin typeface="Helvetica" pitchFamily="34" charset="0"/>
              </a:rPr>
              <a:t>Ms. Fouzia Bennani</a:t>
            </a:r>
          </a:p>
          <a:p>
            <a:pPr marL="722313" lvl="1" indent="-265113">
              <a:spcBef>
                <a:spcPct val="30000"/>
              </a:spcBef>
              <a:buClr>
                <a:srgbClr val="9999FF"/>
              </a:buClr>
              <a:buFont typeface="Wingdings" pitchFamily="2" charset="2"/>
              <a:buChar char="§"/>
            </a:pPr>
            <a:r>
              <a:rPr lang="en-US" sz="1600">
                <a:latin typeface="Helvetica" pitchFamily="34" charset="0"/>
              </a:rPr>
              <a:t>Ms. Nidal Chafiai</a:t>
            </a:r>
          </a:p>
          <a:p>
            <a:pPr marL="722313" lvl="1" indent="-265113">
              <a:spcBef>
                <a:spcPct val="30000"/>
              </a:spcBef>
              <a:buClr>
                <a:srgbClr val="9999FF"/>
              </a:buClr>
              <a:buFont typeface="Wingdings" pitchFamily="2" charset="2"/>
              <a:buChar char="§"/>
            </a:pPr>
            <a:r>
              <a:rPr lang="en-US" sz="1600">
                <a:latin typeface="Helvetica" pitchFamily="34" charset="0"/>
              </a:rPr>
              <a:t>Ms. Karima Chakiri</a:t>
            </a:r>
          </a:p>
          <a:p>
            <a:pPr marL="722313" lvl="1" indent="-265113">
              <a:spcBef>
                <a:spcPct val="30000"/>
              </a:spcBef>
              <a:buClr>
                <a:srgbClr val="9999FF"/>
              </a:buClr>
              <a:buFont typeface="Wingdings" pitchFamily="2" charset="2"/>
              <a:buChar char="§"/>
            </a:pPr>
            <a:r>
              <a:rPr lang="en-US" sz="1600">
                <a:latin typeface="Helvetica" pitchFamily="34" charset="0"/>
              </a:rPr>
              <a:t>Dr.  Lahoucine Ouarsas</a:t>
            </a:r>
          </a:p>
        </p:txBody>
      </p:sp>
      <p:grpSp>
        <p:nvGrpSpPr>
          <p:cNvPr id="22531" name="Group 15"/>
          <p:cNvGrpSpPr>
            <a:grpSpLocks/>
          </p:cNvGrpSpPr>
          <p:nvPr/>
        </p:nvGrpSpPr>
        <p:grpSpPr bwMode="auto">
          <a:xfrm>
            <a:off x="549275" y="1790700"/>
            <a:ext cx="2816225" cy="4648200"/>
            <a:chOff x="3809" y="862"/>
            <a:chExt cx="1884" cy="3221"/>
          </a:xfrm>
        </p:grpSpPr>
        <p:pic>
          <p:nvPicPr>
            <p:cNvPr id="22533" name="Picture 16" descr="j0233018"/>
            <p:cNvPicPr>
              <a:picLocks noChangeAspect="1" noChangeArrowheads="1"/>
            </p:cNvPicPr>
            <p:nvPr/>
          </p:nvPicPr>
          <p:blipFill>
            <a:blip r:embed="rId2"/>
            <a:srcRect/>
            <a:stretch>
              <a:fillRect/>
            </a:stretch>
          </p:blipFill>
          <p:spPr bwMode="auto">
            <a:xfrm>
              <a:off x="4370" y="1181"/>
              <a:ext cx="584" cy="593"/>
            </a:xfrm>
            <a:prstGeom prst="rect">
              <a:avLst/>
            </a:prstGeom>
            <a:noFill/>
            <a:ln w="9525">
              <a:noFill/>
              <a:miter lim="800000"/>
              <a:headEnd/>
              <a:tailEnd/>
            </a:ln>
          </p:spPr>
        </p:pic>
        <p:sp>
          <p:nvSpPr>
            <p:cNvPr id="22534" name="AutoShape 17"/>
            <p:cNvSpPr>
              <a:spLocks noChangeArrowheads="1"/>
            </p:cNvSpPr>
            <p:nvPr/>
          </p:nvSpPr>
          <p:spPr bwMode="auto">
            <a:xfrm>
              <a:off x="3809" y="862"/>
              <a:ext cx="887" cy="672"/>
            </a:xfrm>
            <a:prstGeom prst="flowChartMultidocument">
              <a:avLst/>
            </a:prstGeom>
            <a:solidFill>
              <a:srgbClr val="99CC00"/>
            </a:solidFill>
            <a:ln w="9525">
              <a:solidFill>
                <a:schemeClr val="tx1"/>
              </a:solidFill>
              <a:miter lim="800000"/>
              <a:headEnd/>
              <a:tailEnd/>
            </a:ln>
          </p:spPr>
          <p:txBody>
            <a:bodyPr wrap="none" anchor="ctr">
              <a:spAutoFit/>
            </a:bodyPr>
            <a:lstStyle/>
            <a:p>
              <a:pPr algn="ctr">
                <a:lnSpc>
                  <a:spcPct val="90000"/>
                </a:lnSpc>
              </a:pPr>
              <a:r>
                <a:rPr lang="nl-NL" sz="1400" b="1"/>
                <a:t>Internal </a:t>
              </a:r>
            </a:p>
            <a:p>
              <a:pPr algn="ctr">
                <a:lnSpc>
                  <a:spcPct val="90000"/>
                </a:lnSpc>
              </a:pPr>
              <a:r>
                <a:rPr lang="nl-NL" sz="1400" b="1"/>
                <a:t>Information</a:t>
              </a:r>
            </a:p>
            <a:p>
              <a:pPr algn="ctr">
                <a:lnSpc>
                  <a:spcPct val="90000"/>
                </a:lnSpc>
              </a:pPr>
              <a:r>
                <a:rPr lang="nl-NL" sz="1400" b="1"/>
                <a:t>Sources</a:t>
              </a:r>
              <a:endParaRPr lang="en-US" sz="1400" b="1"/>
            </a:p>
          </p:txBody>
        </p:sp>
        <p:sp>
          <p:nvSpPr>
            <p:cNvPr id="22535" name="AutoShape 18"/>
            <p:cNvSpPr>
              <a:spLocks noChangeArrowheads="1"/>
            </p:cNvSpPr>
            <p:nvPr/>
          </p:nvSpPr>
          <p:spPr bwMode="auto">
            <a:xfrm>
              <a:off x="4806" y="872"/>
              <a:ext cx="887" cy="672"/>
            </a:xfrm>
            <a:prstGeom prst="flowChartMultidocument">
              <a:avLst/>
            </a:prstGeom>
            <a:solidFill>
              <a:schemeClr val="hlink"/>
            </a:solidFill>
            <a:ln w="9525">
              <a:solidFill>
                <a:schemeClr val="tx1"/>
              </a:solidFill>
              <a:miter lim="800000"/>
              <a:headEnd/>
              <a:tailEnd/>
            </a:ln>
          </p:spPr>
          <p:txBody>
            <a:bodyPr wrap="none" anchor="ctr">
              <a:spAutoFit/>
            </a:bodyPr>
            <a:lstStyle/>
            <a:p>
              <a:pPr algn="ctr">
                <a:lnSpc>
                  <a:spcPct val="90000"/>
                </a:lnSpc>
              </a:pPr>
              <a:r>
                <a:rPr lang="nl-NL" sz="1400" b="1"/>
                <a:t>External</a:t>
              </a:r>
            </a:p>
            <a:p>
              <a:pPr algn="ctr">
                <a:lnSpc>
                  <a:spcPct val="90000"/>
                </a:lnSpc>
              </a:pPr>
              <a:r>
                <a:rPr lang="nl-NL" sz="1400" b="1"/>
                <a:t>Information</a:t>
              </a:r>
            </a:p>
            <a:p>
              <a:pPr algn="ctr">
                <a:lnSpc>
                  <a:spcPct val="90000"/>
                </a:lnSpc>
              </a:pPr>
              <a:r>
                <a:rPr lang="nl-NL" sz="1400" b="1"/>
                <a:t>Sources</a:t>
              </a:r>
              <a:endParaRPr lang="en-US" sz="1400" b="1"/>
            </a:p>
          </p:txBody>
        </p:sp>
        <p:grpSp>
          <p:nvGrpSpPr>
            <p:cNvPr id="22536" name="Group 19"/>
            <p:cNvGrpSpPr>
              <a:grpSpLocks/>
            </p:cNvGrpSpPr>
            <p:nvPr/>
          </p:nvGrpSpPr>
          <p:grpSpPr bwMode="auto">
            <a:xfrm>
              <a:off x="4205" y="2719"/>
              <a:ext cx="864" cy="651"/>
              <a:chOff x="4205" y="2448"/>
              <a:chExt cx="1140" cy="858"/>
            </a:xfrm>
          </p:grpSpPr>
          <p:sp>
            <p:nvSpPr>
              <p:cNvPr id="22545" name="laptop"/>
              <p:cNvSpPr>
                <a:spLocks noEditPoints="1" noChangeArrowheads="1"/>
              </p:cNvSpPr>
              <p:nvPr/>
            </p:nvSpPr>
            <p:spPr bwMode="auto">
              <a:xfrm>
                <a:off x="4205" y="2448"/>
                <a:ext cx="1140" cy="85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 name="T24" fmla="*/ 4453 w 21600"/>
                  <a:gd name="T25" fmla="*/ 1863 h 21600"/>
                  <a:gd name="T26" fmla="*/ 17318 w 21600"/>
                  <a:gd name="T27" fmla="*/ 1231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extrusionOk="0">
                    <a:moveTo>
                      <a:pt x="3362" y="0"/>
                    </a:moveTo>
                    <a:lnTo>
                      <a:pt x="18327" y="0"/>
                    </a:lnTo>
                    <a:lnTo>
                      <a:pt x="18327" y="14347"/>
                    </a:lnTo>
                    <a:lnTo>
                      <a:pt x="3362" y="14347"/>
                    </a:lnTo>
                    <a:lnTo>
                      <a:pt x="3362" y="0"/>
                    </a:lnTo>
                    <a:close/>
                  </a:path>
                  <a:path w="21600" h="21600" extrusionOk="0">
                    <a:moveTo>
                      <a:pt x="3340" y="15068"/>
                    </a:moveTo>
                    <a:lnTo>
                      <a:pt x="0" y="19877"/>
                    </a:lnTo>
                    <a:lnTo>
                      <a:pt x="21600" y="19877"/>
                    </a:lnTo>
                    <a:lnTo>
                      <a:pt x="18327" y="15068"/>
                    </a:lnTo>
                    <a:lnTo>
                      <a:pt x="3340" y="15068"/>
                    </a:lnTo>
                    <a:close/>
                  </a:path>
                  <a:path w="21600" h="21600" extrusionOk="0">
                    <a:moveTo>
                      <a:pt x="0" y="19877"/>
                    </a:moveTo>
                    <a:lnTo>
                      <a:pt x="0" y="21600"/>
                    </a:lnTo>
                    <a:lnTo>
                      <a:pt x="21600" y="21600"/>
                    </a:lnTo>
                    <a:lnTo>
                      <a:pt x="21600" y="19877"/>
                    </a:lnTo>
                    <a:lnTo>
                      <a:pt x="0" y="19877"/>
                    </a:lnTo>
                    <a:close/>
                  </a:path>
                  <a:path w="21600" h="21600" extrusionOk="0">
                    <a:moveTo>
                      <a:pt x="4186" y="1523"/>
                    </a:moveTo>
                    <a:lnTo>
                      <a:pt x="17547" y="1523"/>
                    </a:lnTo>
                    <a:lnTo>
                      <a:pt x="17547" y="12744"/>
                    </a:lnTo>
                    <a:lnTo>
                      <a:pt x="4186" y="12744"/>
                    </a:lnTo>
                    <a:lnTo>
                      <a:pt x="4186" y="1523"/>
                    </a:lnTo>
                    <a:close/>
                  </a:path>
                  <a:path w="21600" h="21600" extrusionOk="0">
                    <a:moveTo>
                      <a:pt x="3318" y="15549"/>
                    </a:moveTo>
                    <a:lnTo>
                      <a:pt x="2917" y="16110"/>
                    </a:lnTo>
                    <a:lnTo>
                      <a:pt x="18727" y="16110"/>
                    </a:lnTo>
                    <a:lnTo>
                      <a:pt x="18327" y="15549"/>
                    </a:lnTo>
                    <a:lnTo>
                      <a:pt x="3318" y="15549"/>
                    </a:lnTo>
                    <a:close/>
                  </a:path>
                  <a:path w="21600" h="21600" extrusionOk="0">
                    <a:moveTo>
                      <a:pt x="6213" y="18314"/>
                    </a:moveTo>
                    <a:lnTo>
                      <a:pt x="5946" y="18875"/>
                    </a:lnTo>
                    <a:lnTo>
                      <a:pt x="15766" y="18875"/>
                    </a:lnTo>
                    <a:lnTo>
                      <a:pt x="15499" y="18314"/>
                    </a:lnTo>
                    <a:lnTo>
                      <a:pt x="6213" y="18314"/>
                    </a:lnTo>
                    <a:close/>
                  </a:path>
                  <a:path w="21600" h="21600" extrusionOk="0">
                    <a:moveTo>
                      <a:pt x="2828" y="16471"/>
                    </a:moveTo>
                    <a:lnTo>
                      <a:pt x="2405" y="17072"/>
                    </a:lnTo>
                    <a:lnTo>
                      <a:pt x="19284" y="17072"/>
                    </a:lnTo>
                    <a:lnTo>
                      <a:pt x="18839" y="16471"/>
                    </a:lnTo>
                    <a:lnTo>
                      <a:pt x="2828" y="16471"/>
                    </a:lnTo>
                    <a:close/>
                  </a:path>
                  <a:path w="21600" h="21600" extrusionOk="0">
                    <a:moveTo>
                      <a:pt x="2316" y="17352"/>
                    </a:moveTo>
                    <a:lnTo>
                      <a:pt x="1871" y="17953"/>
                    </a:lnTo>
                    <a:lnTo>
                      <a:pt x="19863" y="17953"/>
                    </a:lnTo>
                    <a:lnTo>
                      <a:pt x="19395" y="17352"/>
                    </a:lnTo>
                    <a:lnTo>
                      <a:pt x="2316" y="17352"/>
                    </a:lnTo>
                    <a:close/>
                  </a:path>
                </a:pathLst>
              </a:custGeom>
              <a:solidFill>
                <a:srgbClr val="71BFA7"/>
              </a:solidFill>
              <a:ln w="9525">
                <a:solidFill>
                  <a:srgbClr val="000000"/>
                </a:solidFill>
                <a:miter lim="800000"/>
                <a:headEnd/>
                <a:tailEnd/>
              </a:ln>
            </p:spPr>
            <p:txBody>
              <a:bodyPr/>
              <a:lstStyle/>
              <a:p>
                <a:endParaRPr lang="en-US"/>
              </a:p>
            </p:txBody>
          </p:sp>
          <p:sp>
            <p:nvSpPr>
              <p:cNvPr id="22546" name="AutoShape 21"/>
              <p:cNvSpPr>
                <a:spLocks noChangeArrowheads="1"/>
              </p:cNvSpPr>
              <p:nvPr/>
            </p:nvSpPr>
            <p:spPr bwMode="auto">
              <a:xfrm>
                <a:off x="4431" y="2557"/>
                <a:ext cx="694" cy="321"/>
              </a:xfrm>
              <a:prstGeom prst="flowChartAlternateProcess">
                <a:avLst/>
              </a:prstGeom>
              <a:solidFill>
                <a:srgbClr val="71BFA7"/>
              </a:solidFill>
              <a:ln w="9525" algn="ctr">
                <a:solidFill>
                  <a:schemeClr val="tx1"/>
                </a:solidFill>
                <a:miter lim="800000"/>
                <a:headEnd/>
                <a:tailEnd/>
              </a:ln>
            </p:spPr>
            <p:txBody>
              <a:bodyPr anchor="ctr">
                <a:spAutoFit/>
              </a:bodyPr>
              <a:lstStyle/>
              <a:p>
                <a:pPr algn="ctr">
                  <a:lnSpc>
                    <a:spcPct val="90000"/>
                  </a:lnSpc>
                </a:pPr>
                <a:r>
                  <a:rPr lang="nl-NL" sz="700" b="1"/>
                  <a:t>ANALYSIS</a:t>
                </a:r>
              </a:p>
              <a:p>
                <a:pPr algn="ctr">
                  <a:lnSpc>
                    <a:spcPct val="90000"/>
                  </a:lnSpc>
                </a:pPr>
                <a:endParaRPr lang="nl-NL" sz="500" b="1"/>
              </a:p>
              <a:p>
                <a:pPr algn="ctr">
                  <a:lnSpc>
                    <a:spcPct val="90000"/>
                  </a:lnSpc>
                </a:pPr>
                <a:r>
                  <a:rPr lang="nl-NL" sz="500" b="1"/>
                  <a:t>XLS &amp; SPSS</a:t>
                </a:r>
                <a:endParaRPr lang="en-US" sz="500" b="1"/>
              </a:p>
            </p:txBody>
          </p:sp>
        </p:grpSp>
        <p:sp>
          <p:nvSpPr>
            <p:cNvPr id="22537" name="AutoShape 22"/>
            <p:cNvSpPr>
              <a:spLocks noChangeArrowheads="1"/>
            </p:cNvSpPr>
            <p:nvPr/>
          </p:nvSpPr>
          <p:spPr bwMode="auto">
            <a:xfrm>
              <a:off x="4409" y="3602"/>
              <a:ext cx="751" cy="403"/>
            </a:xfrm>
            <a:prstGeom prst="flowChartDocument">
              <a:avLst/>
            </a:prstGeom>
            <a:solidFill>
              <a:srgbClr val="71BFA7"/>
            </a:solidFill>
            <a:ln w="9525" algn="ctr">
              <a:solidFill>
                <a:schemeClr val="tx1"/>
              </a:solidFill>
              <a:miter lim="800000"/>
              <a:headEnd/>
              <a:tailEnd/>
            </a:ln>
          </p:spPr>
          <p:txBody>
            <a:bodyPr wrap="none" anchor="ctr">
              <a:spAutoFit/>
            </a:bodyPr>
            <a:lstStyle/>
            <a:p>
              <a:pPr algn="ctr">
                <a:lnSpc>
                  <a:spcPct val="90000"/>
                </a:lnSpc>
              </a:pPr>
              <a:r>
                <a:rPr lang="nl-NL" sz="1400" b="1"/>
                <a:t>PLANNING</a:t>
              </a:r>
            </a:p>
            <a:p>
              <a:pPr algn="ctr">
                <a:lnSpc>
                  <a:spcPct val="90000"/>
                </a:lnSpc>
              </a:pPr>
              <a:r>
                <a:rPr lang="nl-NL" sz="1400" b="1"/>
                <a:t>REPORT</a:t>
              </a:r>
              <a:endParaRPr lang="en-US" sz="1400" b="1"/>
            </a:p>
          </p:txBody>
        </p:sp>
        <p:sp>
          <p:nvSpPr>
            <p:cNvPr id="22538" name="Line 23"/>
            <p:cNvSpPr>
              <a:spLocks noChangeShapeType="1"/>
            </p:cNvSpPr>
            <p:nvPr/>
          </p:nvSpPr>
          <p:spPr bwMode="auto">
            <a:xfrm>
              <a:off x="4666" y="3407"/>
              <a:ext cx="0" cy="173"/>
            </a:xfrm>
            <a:prstGeom prst="line">
              <a:avLst/>
            </a:prstGeom>
            <a:noFill/>
            <a:ln w="38100">
              <a:solidFill>
                <a:schemeClr val="tx1"/>
              </a:solidFill>
              <a:round/>
              <a:headEnd/>
              <a:tailEnd type="triangle" w="med" len="med"/>
            </a:ln>
          </p:spPr>
          <p:txBody>
            <a:bodyPr anchor="ctr">
              <a:spAutoFit/>
            </a:bodyPr>
            <a:lstStyle/>
            <a:p>
              <a:endParaRPr lang="en-US"/>
            </a:p>
          </p:txBody>
        </p:sp>
        <p:sp>
          <p:nvSpPr>
            <p:cNvPr id="22539" name="AutoShape 24"/>
            <p:cNvSpPr>
              <a:spLocks noChangeArrowheads="1"/>
            </p:cNvSpPr>
            <p:nvPr/>
          </p:nvSpPr>
          <p:spPr bwMode="auto">
            <a:xfrm>
              <a:off x="4316" y="3680"/>
              <a:ext cx="836" cy="403"/>
            </a:xfrm>
            <a:prstGeom prst="flowChartDocument">
              <a:avLst/>
            </a:prstGeom>
            <a:solidFill>
              <a:srgbClr val="71BFA7"/>
            </a:solidFill>
            <a:ln w="9525" algn="ctr">
              <a:solidFill>
                <a:schemeClr val="tx1"/>
              </a:solidFill>
              <a:miter lim="800000"/>
              <a:headEnd/>
              <a:tailEnd/>
            </a:ln>
          </p:spPr>
          <p:txBody>
            <a:bodyPr wrap="none" anchor="ctr">
              <a:spAutoFit/>
            </a:bodyPr>
            <a:lstStyle/>
            <a:p>
              <a:pPr algn="ctr">
                <a:lnSpc>
                  <a:spcPct val="90000"/>
                </a:lnSpc>
              </a:pPr>
              <a:r>
                <a:rPr lang="nl-NL" sz="1400" b="1"/>
                <a:t>KPI</a:t>
              </a:r>
            </a:p>
            <a:p>
              <a:pPr algn="ctr">
                <a:lnSpc>
                  <a:spcPct val="90000"/>
                </a:lnSpc>
              </a:pPr>
              <a:r>
                <a:rPr lang="nl-NL" sz="1400" b="1"/>
                <a:t>REPORTING</a:t>
              </a:r>
              <a:endParaRPr lang="en-US" sz="1400" b="1"/>
            </a:p>
          </p:txBody>
        </p:sp>
        <p:sp>
          <p:nvSpPr>
            <p:cNvPr id="22540" name="Line 25"/>
            <p:cNvSpPr>
              <a:spLocks noChangeShapeType="1"/>
            </p:cNvSpPr>
            <p:nvPr/>
          </p:nvSpPr>
          <p:spPr bwMode="auto">
            <a:xfrm>
              <a:off x="4205" y="1526"/>
              <a:ext cx="173" cy="404"/>
            </a:xfrm>
            <a:prstGeom prst="line">
              <a:avLst/>
            </a:prstGeom>
            <a:noFill/>
            <a:ln w="38100">
              <a:solidFill>
                <a:schemeClr val="tx1"/>
              </a:solidFill>
              <a:round/>
              <a:headEnd/>
              <a:tailEnd type="triangle" w="med" len="med"/>
            </a:ln>
          </p:spPr>
          <p:txBody>
            <a:bodyPr anchor="ctr">
              <a:spAutoFit/>
            </a:bodyPr>
            <a:lstStyle/>
            <a:p>
              <a:endParaRPr lang="en-US"/>
            </a:p>
          </p:txBody>
        </p:sp>
        <p:sp>
          <p:nvSpPr>
            <p:cNvPr id="22541" name="AutoShape 26"/>
            <p:cNvSpPr>
              <a:spLocks noChangeArrowheads="1"/>
            </p:cNvSpPr>
            <p:nvPr/>
          </p:nvSpPr>
          <p:spPr bwMode="auto">
            <a:xfrm>
              <a:off x="4205" y="1900"/>
              <a:ext cx="921" cy="573"/>
            </a:xfrm>
            <a:prstGeom prst="flowChartMagneticDisk">
              <a:avLst/>
            </a:prstGeom>
            <a:solidFill>
              <a:srgbClr val="71BFA7"/>
            </a:solidFill>
            <a:ln w="9525">
              <a:solidFill>
                <a:schemeClr val="tx1"/>
              </a:solidFill>
              <a:round/>
              <a:headEnd/>
              <a:tailEnd/>
            </a:ln>
          </p:spPr>
          <p:txBody>
            <a:bodyPr anchor="ctr">
              <a:spAutoFit/>
            </a:bodyPr>
            <a:lstStyle/>
            <a:p>
              <a:pPr algn="ctr">
                <a:lnSpc>
                  <a:spcPct val="90000"/>
                </a:lnSpc>
              </a:pPr>
              <a:r>
                <a:rPr lang="nl-NL" sz="1400"/>
                <a:t>Project Database</a:t>
              </a:r>
              <a:endParaRPr lang="en-US" sz="1400"/>
            </a:p>
          </p:txBody>
        </p:sp>
        <p:sp>
          <p:nvSpPr>
            <p:cNvPr id="22542" name="Line 27"/>
            <p:cNvSpPr>
              <a:spLocks noChangeShapeType="1"/>
            </p:cNvSpPr>
            <p:nvPr/>
          </p:nvSpPr>
          <p:spPr bwMode="auto">
            <a:xfrm flipH="1">
              <a:off x="4954" y="1526"/>
              <a:ext cx="173" cy="404"/>
            </a:xfrm>
            <a:prstGeom prst="line">
              <a:avLst/>
            </a:prstGeom>
            <a:noFill/>
            <a:ln w="38100">
              <a:solidFill>
                <a:schemeClr val="tx1"/>
              </a:solidFill>
              <a:round/>
              <a:headEnd/>
              <a:tailEnd type="triangle" w="med" len="med"/>
            </a:ln>
          </p:spPr>
          <p:txBody>
            <a:bodyPr anchor="ctr">
              <a:spAutoFit/>
            </a:bodyPr>
            <a:lstStyle/>
            <a:p>
              <a:endParaRPr lang="en-US"/>
            </a:p>
          </p:txBody>
        </p:sp>
        <p:sp>
          <p:nvSpPr>
            <p:cNvPr id="22543" name="Line 28"/>
            <p:cNvSpPr>
              <a:spLocks noChangeShapeType="1"/>
            </p:cNvSpPr>
            <p:nvPr/>
          </p:nvSpPr>
          <p:spPr bwMode="auto">
            <a:xfrm>
              <a:off x="4666" y="2506"/>
              <a:ext cx="0" cy="173"/>
            </a:xfrm>
            <a:prstGeom prst="line">
              <a:avLst/>
            </a:prstGeom>
            <a:noFill/>
            <a:ln w="38100">
              <a:solidFill>
                <a:schemeClr val="tx1"/>
              </a:solidFill>
              <a:round/>
              <a:headEnd/>
              <a:tailEnd type="triangle" w="med" len="med"/>
            </a:ln>
          </p:spPr>
          <p:txBody>
            <a:bodyPr anchor="ctr">
              <a:spAutoFit/>
            </a:bodyPr>
            <a:lstStyle/>
            <a:p>
              <a:endParaRPr lang="en-US"/>
            </a:p>
          </p:txBody>
        </p:sp>
        <p:sp>
          <p:nvSpPr>
            <p:cNvPr id="22544" name="Freeform 29"/>
            <p:cNvSpPr>
              <a:spLocks/>
            </p:cNvSpPr>
            <p:nvPr/>
          </p:nvSpPr>
          <p:spPr bwMode="auto">
            <a:xfrm rot="358271">
              <a:off x="5069" y="2448"/>
              <a:ext cx="370" cy="1267"/>
            </a:xfrm>
            <a:custGeom>
              <a:avLst/>
              <a:gdLst>
                <a:gd name="T0" fmla="*/ 230 w 370"/>
                <a:gd name="T1" fmla="*/ 1532 h 1152"/>
                <a:gd name="T2" fmla="*/ 332 w 370"/>
                <a:gd name="T3" fmla="*/ 692 h 1152"/>
                <a:gd name="T4" fmla="*/ 0 w 370"/>
                <a:gd name="T5" fmla="*/ 0 h 1152"/>
                <a:gd name="T6" fmla="*/ 0 60000 65536"/>
                <a:gd name="T7" fmla="*/ 0 60000 65536"/>
                <a:gd name="T8" fmla="*/ 0 60000 65536"/>
                <a:gd name="T9" fmla="*/ 0 w 370"/>
                <a:gd name="T10" fmla="*/ 0 h 1152"/>
                <a:gd name="T11" fmla="*/ 370 w 370"/>
                <a:gd name="T12" fmla="*/ 1152 h 1152"/>
              </a:gdLst>
              <a:ahLst/>
              <a:cxnLst>
                <a:cxn ang="T6">
                  <a:pos x="T0" y="T1"/>
                </a:cxn>
                <a:cxn ang="T7">
                  <a:pos x="T2" y="T3"/>
                </a:cxn>
                <a:cxn ang="T8">
                  <a:pos x="T4" y="T5"/>
                </a:cxn>
              </a:cxnLst>
              <a:rect l="T9" t="T10" r="T11" b="T12"/>
              <a:pathLst>
                <a:path w="370" h="1152">
                  <a:moveTo>
                    <a:pt x="230" y="1152"/>
                  </a:moveTo>
                  <a:cubicBezTo>
                    <a:pt x="247" y="1047"/>
                    <a:pt x="370" y="712"/>
                    <a:pt x="332" y="520"/>
                  </a:cubicBezTo>
                  <a:cubicBezTo>
                    <a:pt x="294" y="328"/>
                    <a:pt x="69" y="108"/>
                    <a:pt x="0" y="0"/>
                  </a:cubicBezTo>
                </a:path>
              </a:pathLst>
            </a:custGeom>
            <a:noFill/>
            <a:ln w="9525" cap="flat" cmpd="sng">
              <a:solidFill>
                <a:schemeClr val="tx1"/>
              </a:solidFill>
              <a:prstDash val="dash"/>
              <a:round/>
              <a:headEnd type="none" w="med" len="med"/>
              <a:tailEnd type="triangle" w="med" len="med"/>
            </a:ln>
          </p:spPr>
          <p:txBody>
            <a:bodyPr anchor="ctr">
              <a:spAutoFit/>
            </a:bodyPr>
            <a:lstStyle/>
            <a:p>
              <a:endParaRPr lang="en-US"/>
            </a:p>
          </p:txBody>
        </p:sp>
      </p:grpSp>
      <p:sp>
        <p:nvSpPr>
          <p:cNvPr id="22532" name="Rectangle 20"/>
          <p:cNvSpPr>
            <a:spLocks noChangeArrowheads="1"/>
          </p:cNvSpPr>
          <p:nvPr/>
        </p:nvSpPr>
        <p:spPr bwMode="auto">
          <a:xfrm>
            <a:off x="288925" y="655638"/>
            <a:ext cx="7567613" cy="366712"/>
          </a:xfrm>
          <a:prstGeom prst="rect">
            <a:avLst/>
          </a:prstGeom>
          <a:noFill/>
          <a:ln w="9525">
            <a:noFill/>
            <a:miter lim="800000"/>
            <a:headEnd/>
            <a:tailEnd/>
          </a:ln>
        </p:spPr>
        <p:txBody>
          <a:bodyPr>
            <a:spAutoFit/>
          </a:bodyPr>
          <a:lstStyle/>
          <a:p>
            <a:r>
              <a:rPr lang="en-US">
                <a:solidFill>
                  <a:srgbClr val="000000"/>
                </a:solidFill>
              </a:rPr>
              <a:t>Our project focus aligns with ALCS short-term and long-term objectives</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Slide Number Placeholder 3"/>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40832840-700C-4880-8CAC-468614CFFDEF}" type="slidenum">
              <a:rPr lang="en-US" sz="800"/>
              <a:pPr/>
              <a:t>12</a:t>
            </a:fld>
            <a:endParaRPr lang="en-US" sz="800"/>
          </a:p>
        </p:txBody>
      </p:sp>
      <p:sp>
        <p:nvSpPr>
          <p:cNvPr id="29698" name="Rectangle 4"/>
          <p:cNvSpPr>
            <a:spLocks noChangeArrowheads="1"/>
          </p:cNvSpPr>
          <p:nvPr/>
        </p:nvSpPr>
        <p:spPr bwMode="auto">
          <a:xfrm>
            <a:off x="4659313" y="1531938"/>
            <a:ext cx="4484687" cy="2286000"/>
          </a:xfrm>
          <a:prstGeom prst="rect">
            <a:avLst/>
          </a:prstGeom>
          <a:noFill/>
          <a:ln w="9525">
            <a:noFill/>
            <a:miter lim="800000"/>
            <a:headEnd/>
            <a:tailEnd/>
          </a:ln>
        </p:spPr>
        <p:txBody>
          <a:bodyPr lIns="91436" tIns="45716" rIns="91436" bIns="45716"/>
          <a:lstStyle/>
          <a:p>
            <a:pPr marL="180975" indent="-180975" algn="ctr">
              <a:spcBef>
                <a:spcPct val="20000"/>
              </a:spcBef>
              <a:buClr>
                <a:srgbClr val="7889FB"/>
              </a:buClr>
              <a:buFont typeface="Wingdings" pitchFamily="2" charset="2"/>
              <a:buNone/>
            </a:pPr>
            <a:r>
              <a:rPr lang="en-US" b="1">
                <a:solidFill>
                  <a:srgbClr val="9999FF"/>
                </a:solidFill>
              </a:rPr>
              <a:t>Weaknesses</a:t>
            </a:r>
            <a:endParaRPr lang="en-US" sz="1300"/>
          </a:p>
          <a:p>
            <a:pPr marL="180975" indent="-180975">
              <a:spcBef>
                <a:spcPts val="600"/>
              </a:spcBef>
              <a:buClr>
                <a:srgbClr val="7889FB"/>
              </a:buClr>
              <a:buFont typeface="Wingdings" pitchFamily="2" charset="2"/>
              <a:buChar char="§"/>
            </a:pPr>
            <a:r>
              <a:rPr lang="en-US" sz="1300"/>
              <a:t>Lack of secure global funding sources in the future</a:t>
            </a:r>
          </a:p>
          <a:p>
            <a:pPr marL="180975" indent="-180975">
              <a:spcBef>
                <a:spcPts val="600"/>
              </a:spcBef>
              <a:buClr>
                <a:srgbClr val="7889FB"/>
              </a:buClr>
              <a:buFont typeface="Wingdings" pitchFamily="2" charset="2"/>
              <a:buChar char="§"/>
            </a:pPr>
            <a:r>
              <a:rPr lang="en-US" sz="1300"/>
              <a:t>Strong dependency on individual funding resource commitments and their compliance requirements</a:t>
            </a:r>
          </a:p>
          <a:p>
            <a:pPr marL="180975" indent="-180975">
              <a:spcBef>
                <a:spcPts val="600"/>
              </a:spcBef>
              <a:buClr>
                <a:srgbClr val="7889FB"/>
              </a:buClr>
              <a:buFont typeface="Wingdings" pitchFamily="2" charset="2"/>
              <a:buChar char="§"/>
            </a:pPr>
            <a:r>
              <a:rPr lang="en-US" sz="1300"/>
              <a:t>Cumbersome data gathering methods to report program effectiveness; return on investments</a:t>
            </a:r>
          </a:p>
          <a:p>
            <a:pPr marL="180975" indent="-180975">
              <a:spcBef>
                <a:spcPts val="600"/>
              </a:spcBef>
              <a:buClr>
                <a:srgbClr val="7889FB"/>
              </a:buClr>
              <a:buFont typeface="Wingdings" pitchFamily="2" charset="2"/>
              <a:buChar char="§"/>
            </a:pPr>
            <a:r>
              <a:rPr lang="en-US" sz="1300"/>
              <a:t>Limited physical and cyber security in place; lack of back up/disaster recovery plan</a:t>
            </a:r>
          </a:p>
          <a:p>
            <a:pPr marL="180975" indent="-180975">
              <a:spcBef>
                <a:spcPts val="600"/>
              </a:spcBef>
              <a:buClr>
                <a:srgbClr val="7889FB"/>
              </a:buClr>
              <a:buFont typeface="Wingdings" pitchFamily="2" charset="2"/>
              <a:buChar char="§"/>
            </a:pPr>
            <a:r>
              <a:rPr lang="en-US" sz="1300"/>
              <a:t>Limited use of social media to tap funding sources/ potential donors</a:t>
            </a:r>
          </a:p>
          <a:p>
            <a:pPr marL="180975" indent="-180975">
              <a:spcBef>
                <a:spcPts val="600"/>
              </a:spcBef>
              <a:buClr>
                <a:srgbClr val="7889FB"/>
              </a:buClr>
              <a:buFont typeface="Wingdings" pitchFamily="2" charset="2"/>
              <a:buChar char="§"/>
            </a:pPr>
            <a:r>
              <a:rPr lang="en-US" sz="1300"/>
              <a:t>Strong dependency on individual personnel performance, limited succession planning</a:t>
            </a:r>
          </a:p>
          <a:p>
            <a:pPr marL="180975" indent="-180975">
              <a:spcBef>
                <a:spcPts val="600"/>
              </a:spcBef>
              <a:buClr>
                <a:srgbClr val="7889FB"/>
              </a:buClr>
              <a:buFont typeface="Wingdings" pitchFamily="2" charset="2"/>
              <a:buChar char="§"/>
            </a:pPr>
            <a:r>
              <a:rPr lang="en-US" sz="1300"/>
              <a:t>Limited personnel resources for IT infrastructure support;  limited IT capacity for field and mobile units</a:t>
            </a:r>
          </a:p>
          <a:p>
            <a:pPr marL="180975" indent="-180975">
              <a:spcBef>
                <a:spcPts val="600"/>
              </a:spcBef>
              <a:buClr>
                <a:srgbClr val="7889FB"/>
              </a:buClr>
              <a:buFont typeface="Wingdings" pitchFamily="2" charset="2"/>
              <a:buChar char="§"/>
            </a:pPr>
            <a:endParaRPr lang="en-US" sz="1300"/>
          </a:p>
        </p:txBody>
      </p:sp>
      <p:sp>
        <p:nvSpPr>
          <p:cNvPr id="29699" name="Rectangle 7"/>
          <p:cNvSpPr>
            <a:spLocks noChangeArrowheads="1"/>
          </p:cNvSpPr>
          <p:nvPr/>
        </p:nvSpPr>
        <p:spPr bwMode="auto">
          <a:xfrm>
            <a:off x="190500" y="1524000"/>
            <a:ext cx="4122738" cy="2524125"/>
          </a:xfrm>
          <a:prstGeom prst="rect">
            <a:avLst/>
          </a:prstGeom>
          <a:noFill/>
          <a:ln w="9525">
            <a:noFill/>
            <a:miter lim="800000"/>
            <a:headEnd/>
            <a:tailEnd/>
          </a:ln>
        </p:spPr>
        <p:txBody>
          <a:bodyPr lIns="91436" tIns="45716" rIns="91436" bIns="45716"/>
          <a:lstStyle/>
          <a:p>
            <a:pPr marL="180975" indent="-180975" algn="ctr">
              <a:spcBef>
                <a:spcPct val="20000"/>
              </a:spcBef>
              <a:buClr>
                <a:srgbClr val="7889FB"/>
              </a:buClr>
              <a:buFont typeface="Wingdings" pitchFamily="2" charset="2"/>
              <a:buNone/>
            </a:pPr>
            <a:r>
              <a:rPr lang="en-US" b="1">
                <a:solidFill>
                  <a:srgbClr val="9999FF"/>
                </a:solidFill>
              </a:rPr>
              <a:t>Strengths</a:t>
            </a:r>
            <a:endParaRPr lang="en-US" sz="1300"/>
          </a:p>
          <a:p>
            <a:pPr marL="180975" indent="-180975">
              <a:spcBef>
                <a:spcPts val="600"/>
              </a:spcBef>
              <a:buClr>
                <a:srgbClr val="7889FB"/>
              </a:buClr>
              <a:buFont typeface="Wingdings" pitchFamily="2" charset="2"/>
              <a:buChar char="§"/>
            </a:pPr>
            <a:r>
              <a:rPr lang="en-US" sz="1300"/>
              <a:t>Allegiance to founding principles and core values</a:t>
            </a:r>
          </a:p>
          <a:p>
            <a:pPr marL="180975" indent="-180975">
              <a:spcBef>
                <a:spcPts val="600"/>
              </a:spcBef>
              <a:buClr>
                <a:srgbClr val="7889FB"/>
              </a:buClr>
              <a:buFont typeface="Wingdings" pitchFamily="2" charset="2"/>
              <a:buChar char="§"/>
            </a:pPr>
            <a:r>
              <a:rPr lang="en-US" sz="1300"/>
              <a:t>Strong organizational identity and ALCS brand</a:t>
            </a:r>
          </a:p>
          <a:p>
            <a:pPr marL="180975" indent="-180975">
              <a:spcBef>
                <a:spcPts val="600"/>
              </a:spcBef>
              <a:buClr>
                <a:srgbClr val="7889FB"/>
              </a:buClr>
              <a:buFont typeface="Wingdings" pitchFamily="2" charset="2"/>
              <a:buChar char="§"/>
            </a:pPr>
            <a:r>
              <a:rPr lang="en-US" sz="1300"/>
              <a:t>Expansive national reach to target audiences </a:t>
            </a:r>
          </a:p>
          <a:p>
            <a:pPr marL="180975" indent="-180975">
              <a:spcBef>
                <a:spcPts val="600"/>
              </a:spcBef>
              <a:buClr>
                <a:srgbClr val="7889FB"/>
              </a:buClr>
              <a:buFont typeface="Wingdings" pitchFamily="2" charset="2"/>
              <a:buChar char="§"/>
            </a:pPr>
            <a:r>
              <a:rPr lang="en-US" sz="1300"/>
              <a:t>Strong political support, including partnership with the Ministry of Health</a:t>
            </a:r>
          </a:p>
          <a:p>
            <a:pPr marL="180975" indent="-180975">
              <a:spcBef>
                <a:spcPts val="600"/>
              </a:spcBef>
              <a:buClr>
                <a:srgbClr val="7889FB"/>
              </a:buClr>
              <a:buFont typeface="Wingdings" pitchFamily="2" charset="2"/>
              <a:buChar char="§"/>
            </a:pPr>
            <a:r>
              <a:rPr lang="en-US" sz="1300"/>
              <a:t>Experienced, engaged and motivated personnel and volunteers</a:t>
            </a:r>
          </a:p>
          <a:p>
            <a:pPr marL="180975" indent="-180975">
              <a:spcBef>
                <a:spcPts val="600"/>
              </a:spcBef>
              <a:buClr>
                <a:srgbClr val="7889FB"/>
              </a:buClr>
              <a:buFont typeface="Wingdings" pitchFamily="2" charset="2"/>
              <a:buChar char="§"/>
            </a:pPr>
            <a:r>
              <a:rPr lang="en-US" sz="1300"/>
              <a:t>Well defined operational business processes and performance metrics</a:t>
            </a:r>
          </a:p>
          <a:p>
            <a:pPr marL="180975" indent="-180975">
              <a:spcBef>
                <a:spcPts val="600"/>
              </a:spcBef>
              <a:buClr>
                <a:srgbClr val="7889FB"/>
              </a:buClr>
              <a:buFont typeface="Wingdings" pitchFamily="2" charset="2"/>
              <a:buChar char="§"/>
            </a:pPr>
            <a:r>
              <a:rPr lang="en-US" sz="1300"/>
              <a:t>Global partnerships with like minded organizations</a:t>
            </a:r>
          </a:p>
          <a:p>
            <a:pPr marL="180975" indent="-180975">
              <a:spcBef>
                <a:spcPts val="600"/>
              </a:spcBef>
              <a:buClr>
                <a:srgbClr val="7889FB"/>
              </a:buClr>
              <a:buFont typeface="Wingdings" pitchFamily="2" charset="2"/>
              <a:buChar char="§"/>
            </a:pPr>
            <a:r>
              <a:rPr lang="en-US" sz="1300"/>
              <a:t>Innovative approaches to fundraising and marketing, including SIDACTION</a:t>
            </a:r>
          </a:p>
          <a:p>
            <a:pPr marL="180975" indent="-180975">
              <a:spcBef>
                <a:spcPts val="600"/>
              </a:spcBef>
              <a:buClr>
                <a:srgbClr val="7889FB"/>
              </a:buClr>
              <a:buFont typeface="Wingdings" pitchFamily="2" charset="2"/>
              <a:buChar char="§"/>
            </a:pPr>
            <a:r>
              <a:rPr lang="en-US" sz="1300"/>
              <a:t>Open to change and continuous process improvements</a:t>
            </a:r>
          </a:p>
          <a:p>
            <a:pPr marL="180975" indent="-180975">
              <a:spcBef>
                <a:spcPts val="600"/>
              </a:spcBef>
              <a:buClr>
                <a:srgbClr val="7889FB"/>
              </a:buClr>
              <a:buFont typeface="Wingdings" pitchFamily="2" charset="2"/>
              <a:buChar char="§"/>
            </a:pPr>
            <a:endParaRPr lang="en-US" sz="1300"/>
          </a:p>
        </p:txBody>
      </p:sp>
      <p:sp>
        <p:nvSpPr>
          <p:cNvPr id="29700" name="Rectangle 8"/>
          <p:cNvSpPr>
            <a:spLocks noChangeArrowheads="1"/>
          </p:cNvSpPr>
          <p:nvPr/>
        </p:nvSpPr>
        <p:spPr bwMode="gray">
          <a:xfrm>
            <a:off x="282575" y="625475"/>
            <a:ext cx="8008938" cy="427038"/>
          </a:xfrm>
          <a:prstGeom prst="rect">
            <a:avLst/>
          </a:prstGeom>
          <a:noFill/>
          <a:ln w="9525" algn="ctr">
            <a:noFill/>
            <a:miter lim="800000"/>
            <a:headEnd/>
            <a:tailEnd/>
          </a:ln>
        </p:spPr>
        <p:txBody>
          <a:bodyPr lIns="0" tIns="45716" rIns="91436" bIns="45716"/>
          <a:lstStyle/>
          <a:p>
            <a:pPr>
              <a:lnSpc>
                <a:spcPct val="90000"/>
              </a:lnSpc>
            </a:pPr>
            <a:r>
              <a:rPr lang="en-US" sz="2000"/>
              <a:t>ALCS has a strong base of capabilities – and a series of challenges</a:t>
            </a:r>
            <a:endParaRPr lang="nl-NL" sz="2000"/>
          </a:p>
        </p:txBody>
      </p:sp>
      <p:sp>
        <p:nvSpPr>
          <p:cNvPr id="950281" name="Rectangle 9"/>
          <p:cNvSpPr>
            <a:spLocks noChangeArrowheads="1"/>
          </p:cNvSpPr>
          <p:nvPr/>
        </p:nvSpPr>
        <p:spPr bwMode="auto">
          <a:xfrm>
            <a:off x="220663" y="6230938"/>
            <a:ext cx="1989137" cy="246062"/>
          </a:xfrm>
          <a:prstGeom prst="rect">
            <a:avLst/>
          </a:prstGeom>
          <a:solidFill>
            <a:schemeClr val="bg1"/>
          </a:solidFill>
          <a:ln w="9525">
            <a:noFill/>
            <a:miter lim="800000"/>
            <a:headEnd/>
            <a:tailEnd/>
          </a:ln>
          <a:effectLst/>
        </p:spPr>
        <p:txBody>
          <a:bodyPr wrap="none" lIns="91436" tIns="45716" rIns="91436" bIns="45716">
            <a:spAutoFit/>
          </a:bodyPr>
          <a:lstStyle/>
          <a:p>
            <a:pPr fontAlgn="auto">
              <a:spcBef>
                <a:spcPts val="0"/>
              </a:spcBef>
              <a:spcAft>
                <a:spcPts val="0"/>
              </a:spcAft>
              <a:defRPr/>
            </a:pPr>
            <a:r>
              <a:rPr lang="en-US" sz="1000" i="1" dirty="0">
                <a:solidFill>
                  <a:schemeClr val="bg1">
                    <a:lumMod val="50000"/>
                  </a:schemeClr>
                </a:solidFill>
                <a:latin typeface="+mn-lt"/>
                <a:cs typeface="+mn-cs"/>
              </a:rPr>
              <a:t>Source: Discussions with FTAM</a:t>
            </a:r>
            <a:endParaRPr lang="de-DE" sz="1000" i="1" dirty="0">
              <a:solidFill>
                <a:schemeClr val="bg1">
                  <a:lumMod val="50000"/>
                </a:schemeClr>
              </a:solidFill>
              <a:latin typeface="+mn-lt"/>
              <a:cs typeface="+mn-cs"/>
            </a:endParaRPr>
          </a:p>
        </p:txBody>
      </p:sp>
    </p:spTree>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Title 11"/>
          <p:cNvSpPr>
            <a:spLocks noGrp="1"/>
          </p:cNvSpPr>
          <p:nvPr>
            <p:ph type="title" idx="4294967295"/>
          </p:nvPr>
        </p:nvSpPr>
        <p:spPr/>
        <p:txBody>
          <a:bodyPr/>
          <a:lstStyle/>
          <a:p>
            <a:pPr eaLnBrk="1" hangingPunct="1"/>
            <a:r>
              <a:rPr lang="en-US" smtClean="0"/>
              <a:t>Strengths and weaknesses may be turned into opportunities                        – keeping in mind the potential threats</a:t>
            </a:r>
          </a:p>
        </p:txBody>
      </p:sp>
      <p:sp>
        <p:nvSpPr>
          <p:cNvPr id="31746" name="Slide Number Placeholder 3"/>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AEF5AE1A-2ACC-42F9-B71B-84E020E9ED7F}" type="slidenum">
              <a:rPr lang="en-US" sz="800"/>
              <a:pPr/>
              <a:t>13</a:t>
            </a:fld>
            <a:endParaRPr lang="en-US" sz="800"/>
          </a:p>
        </p:txBody>
      </p:sp>
      <p:sp>
        <p:nvSpPr>
          <p:cNvPr id="31747" name="Rectangle 5"/>
          <p:cNvSpPr>
            <a:spLocks noChangeArrowheads="1"/>
          </p:cNvSpPr>
          <p:nvPr/>
        </p:nvSpPr>
        <p:spPr bwMode="auto">
          <a:xfrm>
            <a:off x="190500" y="1246188"/>
            <a:ext cx="4533900" cy="3097212"/>
          </a:xfrm>
          <a:prstGeom prst="rect">
            <a:avLst/>
          </a:prstGeom>
          <a:noFill/>
          <a:ln w="9525">
            <a:noFill/>
            <a:miter lim="800000"/>
            <a:headEnd/>
            <a:tailEnd/>
          </a:ln>
        </p:spPr>
        <p:txBody>
          <a:bodyPr lIns="91436" tIns="45716" rIns="91436" bIns="45716"/>
          <a:lstStyle/>
          <a:p>
            <a:pPr marL="180975" indent="-180975" algn="ctr">
              <a:spcBef>
                <a:spcPct val="20000"/>
              </a:spcBef>
              <a:buClr>
                <a:schemeClr val="tx1"/>
              </a:buClr>
              <a:buFont typeface="Wingdings" pitchFamily="2" charset="2"/>
              <a:buNone/>
            </a:pPr>
            <a:r>
              <a:rPr lang="en-US" b="1">
                <a:solidFill>
                  <a:srgbClr val="9999FF"/>
                </a:solidFill>
              </a:rPr>
              <a:t>Opportunities</a:t>
            </a:r>
          </a:p>
          <a:p>
            <a:pPr marL="180975" indent="-180975">
              <a:spcBef>
                <a:spcPts val="600"/>
              </a:spcBef>
              <a:buClr>
                <a:srgbClr val="7889FB"/>
              </a:buClr>
              <a:buFont typeface="Wingdings" pitchFamily="2" charset="2"/>
              <a:buChar char="§"/>
            </a:pPr>
            <a:r>
              <a:rPr lang="en-US" sz="1300"/>
              <a:t>Become a ‘Center of Excellence’ in the Magreb region for HIV/AIDS prevention</a:t>
            </a:r>
          </a:p>
          <a:p>
            <a:pPr marL="180975" indent="-180975">
              <a:spcBef>
                <a:spcPts val="600"/>
              </a:spcBef>
              <a:buClr>
                <a:srgbClr val="7889FB"/>
              </a:buClr>
              <a:buFont typeface="Wingdings" pitchFamily="2" charset="2"/>
              <a:buChar char="§"/>
            </a:pPr>
            <a:r>
              <a:rPr lang="en-US" sz="1300"/>
              <a:t>Serve as a role model, sharing best practice methods with other NGOs and health care providers</a:t>
            </a:r>
          </a:p>
          <a:p>
            <a:pPr marL="180975" indent="-180975">
              <a:spcBef>
                <a:spcPts val="600"/>
              </a:spcBef>
              <a:buClr>
                <a:srgbClr val="7889FB"/>
              </a:buClr>
              <a:buFont typeface="Wingdings" pitchFamily="2" charset="2"/>
              <a:buChar char="§"/>
            </a:pPr>
            <a:r>
              <a:rPr lang="en-US" sz="1300"/>
              <a:t>Extend prevention support for other contagious diseases</a:t>
            </a:r>
          </a:p>
          <a:p>
            <a:pPr marL="180975" indent="-180975">
              <a:spcBef>
                <a:spcPts val="600"/>
              </a:spcBef>
              <a:buClr>
                <a:srgbClr val="7889FB"/>
              </a:buClr>
              <a:buFont typeface="Wingdings" pitchFamily="2" charset="2"/>
              <a:buChar char="§"/>
            </a:pPr>
            <a:r>
              <a:rPr lang="en-US" sz="1300"/>
              <a:t>Adopt a centralized information repository to improve operational efficiency, increase performance and information sharing</a:t>
            </a:r>
          </a:p>
          <a:p>
            <a:pPr marL="180975" indent="-180975">
              <a:spcBef>
                <a:spcPts val="600"/>
              </a:spcBef>
              <a:buClr>
                <a:srgbClr val="7889FB"/>
              </a:buClr>
              <a:buFont typeface="Wingdings" pitchFamily="2" charset="2"/>
              <a:buChar char="§"/>
            </a:pPr>
            <a:r>
              <a:rPr lang="en-US" sz="1300"/>
              <a:t>Use collaboration tools to improve communications and performance metrics reporting</a:t>
            </a:r>
          </a:p>
          <a:p>
            <a:pPr marL="180975" indent="-180975">
              <a:spcBef>
                <a:spcPts val="600"/>
              </a:spcBef>
              <a:buClr>
                <a:srgbClr val="7889FB"/>
              </a:buClr>
              <a:buFont typeface="Wingdings" pitchFamily="2" charset="2"/>
              <a:buChar char="§"/>
            </a:pPr>
            <a:r>
              <a:rPr lang="en-US" sz="1300"/>
              <a:t>Outsource IT infrastructure support, ensuring use of latest technology and security methods </a:t>
            </a:r>
          </a:p>
          <a:p>
            <a:pPr marL="180975" indent="-180975">
              <a:spcBef>
                <a:spcPts val="600"/>
              </a:spcBef>
              <a:buClr>
                <a:srgbClr val="7889FB"/>
              </a:buClr>
              <a:buFont typeface="Wingdings" pitchFamily="2" charset="2"/>
              <a:buChar char="§"/>
            </a:pPr>
            <a:r>
              <a:rPr lang="en-US" sz="1300"/>
              <a:t>Leverage social media, including mobile applications to:</a:t>
            </a:r>
          </a:p>
          <a:p>
            <a:pPr marL="742950" lvl="1" indent="-285750">
              <a:spcBef>
                <a:spcPts val="600"/>
              </a:spcBef>
              <a:buClr>
                <a:srgbClr val="7889FB"/>
              </a:buClr>
              <a:buFont typeface="Wingdings" pitchFamily="2" charset="2"/>
              <a:buChar char="§"/>
            </a:pPr>
            <a:r>
              <a:rPr lang="en-US" sz="1300"/>
              <a:t>Provide care and support for target audiences</a:t>
            </a:r>
          </a:p>
          <a:p>
            <a:pPr marL="742950" lvl="1" indent="-285750">
              <a:spcBef>
                <a:spcPts val="600"/>
              </a:spcBef>
              <a:buClr>
                <a:srgbClr val="7889FB"/>
              </a:buClr>
              <a:buFont typeface="Wingdings" pitchFamily="2" charset="2"/>
              <a:buChar char="§"/>
            </a:pPr>
            <a:r>
              <a:rPr lang="en-US" sz="1300"/>
              <a:t>Share real time data between doctors and clients on testing results, appointments and treatments</a:t>
            </a:r>
          </a:p>
          <a:p>
            <a:pPr marL="742950" lvl="1" indent="-285750">
              <a:spcBef>
                <a:spcPts val="600"/>
              </a:spcBef>
              <a:buClr>
                <a:srgbClr val="7889FB"/>
              </a:buClr>
              <a:buFont typeface="Wingdings" pitchFamily="2" charset="2"/>
              <a:buChar char="§"/>
            </a:pPr>
            <a:r>
              <a:rPr lang="en-US" sz="1300"/>
              <a:t>Support public awareness campaign activities</a:t>
            </a:r>
          </a:p>
          <a:p>
            <a:pPr marL="742950" lvl="1" indent="-285750">
              <a:spcBef>
                <a:spcPts val="600"/>
              </a:spcBef>
              <a:buClr>
                <a:srgbClr val="7889FB"/>
              </a:buClr>
              <a:buFont typeface="Wingdings" pitchFamily="2" charset="2"/>
              <a:buChar char="§"/>
            </a:pPr>
            <a:r>
              <a:rPr lang="en-US" sz="1300"/>
              <a:t>Increase promotion of success stories/income generating activities </a:t>
            </a:r>
          </a:p>
          <a:p>
            <a:pPr marL="742950" lvl="1" indent="-285750">
              <a:spcBef>
                <a:spcPts val="600"/>
              </a:spcBef>
              <a:buClr>
                <a:srgbClr val="7889FB"/>
              </a:buClr>
              <a:buFont typeface="Wingdings" pitchFamily="2" charset="2"/>
              <a:buChar char="§"/>
            </a:pPr>
            <a:r>
              <a:rPr lang="en-US" sz="1300"/>
              <a:t>Leverage key networks and past donors to support fundraising strategy for sustainability</a:t>
            </a:r>
          </a:p>
          <a:p>
            <a:pPr marL="180975" indent="-180975">
              <a:buFontTx/>
              <a:buChar char="•"/>
            </a:pPr>
            <a:endParaRPr lang="en-US" sz="1300"/>
          </a:p>
          <a:p>
            <a:pPr marL="180975" indent="-180975">
              <a:spcBef>
                <a:spcPts val="600"/>
              </a:spcBef>
              <a:buClr>
                <a:schemeClr val="tx1"/>
              </a:buClr>
              <a:buFont typeface="Wingdings" pitchFamily="2" charset="2"/>
              <a:buChar char="§"/>
            </a:pPr>
            <a:endParaRPr lang="en-US" sz="1300"/>
          </a:p>
          <a:p>
            <a:pPr marL="180975" indent="-180975">
              <a:spcBef>
                <a:spcPct val="20000"/>
              </a:spcBef>
              <a:buClr>
                <a:schemeClr val="tx1"/>
              </a:buClr>
              <a:buFont typeface="Wingdings" pitchFamily="2" charset="2"/>
              <a:buChar char="§"/>
            </a:pPr>
            <a:endParaRPr lang="en-US" sz="1300"/>
          </a:p>
          <a:p>
            <a:pPr marL="180975" indent="-180975">
              <a:spcBef>
                <a:spcPct val="20000"/>
              </a:spcBef>
              <a:buClr>
                <a:schemeClr val="tx1"/>
              </a:buClr>
              <a:buFont typeface="Wingdings" pitchFamily="2" charset="2"/>
              <a:buChar char="§"/>
            </a:pPr>
            <a:endParaRPr lang="en-US" sz="1300"/>
          </a:p>
          <a:p>
            <a:pPr marL="180975" indent="-180975">
              <a:spcBef>
                <a:spcPct val="20000"/>
              </a:spcBef>
              <a:buClr>
                <a:schemeClr val="tx1"/>
              </a:buClr>
              <a:buFont typeface="Wingdings" pitchFamily="2" charset="2"/>
              <a:buChar char="§"/>
            </a:pPr>
            <a:endParaRPr lang="en-US" sz="1300"/>
          </a:p>
        </p:txBody>
      </p:sp>
      <p:sp>
        <p:nvSpPr>
          <p:cNvPr id="31748" name="Rectangle 6"/>
          <p:cNvSpPr>
            <a:spLocks noChangeArrowheads="1"/>
          </p:cNvSpPr>
          <p:nvPr/>
        </p:nvSpPr>
        <p:spPr bwMode="auto">
          <a:xfrm>
            <a:off x="4646613" y="1274763"/>
            <a:ext cx="4192587" cy="2755900"/>
          </a:xfrm>
          <a:prstGeom prst="rect">
            <a:avLst/>
          </a:prstGeom>
          <a:noFill/>
          <a:ln w="9525">
            <a:noFill/>
            <a:miter lim="800000"/>
            <a:headEnd/>
            <a:tailEnd/>
          </a:ln>
        </p:spPr>
        <p:txBody>
          <a:bodyPr lIns="91436" tIns="45716" rIns="91436" bIns="45716"/>
          <a:lstStyle/>
          <a:p>
            <a:pPr marL="180975" indent="-180975" algn="ctr">
              <a:spcBef>
                <a:spcPct val="20000"/>
              </a:spcBef>
              <a:buClr>
                <a:schemeClr val="tx1"/>
              </a:buClr>
              <a:buFont typeface="Wingdings" pitchFamily="2" charset="2"/>
              <a:buNone/>
            </a:pPr>
            <a:r>
              <a:rPr lang="en-US" b="1">
                <a:solidFill>
                  <a:srgbClr val="9999FF"/>
                </a:solidFill>
              </a:rPr>
              <a:t>Threats</a:t>
            </a:r>
          </a:p>
          <a:p>
            <a:pPr marL="180975" indent="-180975">
              <a:spcBef>
                <a:spcPts val="600"/>
              </a:spcBef>
              <a:buClr>
                <a:srgbClr val="7889FB"/>
              </a:buClr>
              <a:buFont typeface="Wingdings" pitchFamily="2" charset="2"/>
              <a:buChar char="§"/>
            </a:pPr>
            <a:r>
              <a:rPr lang="en-US" sz="1300"/>
              <a:t>Future pipeline of international and government funding may be limited </a:t>
            </a:r>
          </a:p>
          <a:p>
            <a:pPr marL="180975" indent="-180975">
              <a:spcBef>
                <a:spcPts val="600"/>
              </a:spcBef>
              <a:buClr>
                <a:srgbClr val="7889FB"/>
              </a:buClr>
              <a:buFont typeface="Wingdings" pitchFamily="2" charset="2"/>
              <a:buChar char="§"/>
            </a:pPr>
            <a:r>
              <a:rPr lang="en-US" sz="1300"/>
              <a:t>Potential of stronger funding consideration for other NGOs </a:t>
            </a:r>
          </a:p>
          <a:p>
            <a:pPr marL="180975" indent="-180975">
              <a:spcBef>
                <a:spcPts val="600"/>
              </a:spcBef>
              <a:buClr>
                <a:srgbClr val="7889FB"/>
              </a:buClr>
              <a:buFont typeface="Wingdings" pitchFamily="2" charset="2"/>
              <a:buChar char="§"/>
            </a:pPr>
            <a:r>
              <a:rPr lang="en-US" sz="1300"/>
              <a:t>Lack of qualified personnel resources, including doctors and trained volunteers</a:t>
            </a:r>
          </a:p>
          <a:p>
            <a:pPr marL="180975" indent="-180975">
              <a:spcBef>
                <a:spcPts val="600"/>
              </a:spcBef>
              <a:buClr>
                <a:srgbClr val="7889FB"/>
              </a:buClr>
              <a:buFont typeface="Wingdings" pitchFamily="2" charset="2"/>
              <a:buChar char="§"/>
            </a:pPr>
            <a:r>
              <a:rPr lang="en-US" sz="1300"/>
              <a:t>Ongoing discrimination and human rights violations against target audiences</a:t>
            </a:r>
          </a:p>
          <a:p>
            <a:pPr marL="180975" indent="-180975">
              <a:spcBef>
                <a:spcPts val="600"/>
              </a:spcBef>
              <a:buClr>
                <a:srgbClr val="7889FB"/>
              </a:buClr>
              <a:buFont typeface="Wingdings" pitchFamily="2" charset="2"/>
              <a:buChar char="§"/>
            </a:pPr>
            <a:r>
              <a:rPr lang="en-US" sz="1300"/>
              <a:t>Limited ability to track trending data following participation with ALCS</a:t>
            </a:r>
          </a:p>
          <a:p>
            <a:pPr marL="180975" indent="-180975">
              <a:spcBef>
                <a:spcPts val="600"/>
              </a:spcBef>
              <a:buClr>
                <a:srgbClr val="7889FB"/>
              </a:buClr>
              <a:buFont typeface="Wingdings" pitchFamily="2" charset="2"/>
              <a:buChar char="§"/>
            </a:pPr>
            <a:r>
              <a:rPr lang="en-US" sz="1300"/>
              <a:t>Potential for IT security incidents and data breaches</a:t>
            </a:r>
          </a:p>
        </p:txBody>
      </p:sp>
      <p:sp>
        <p:nvSpPr>
          <p:cNvPr id="31749" name="Rectangle 8"/>
          <p:cNvSpPr>
            <a:spLocks noChangeArrowheads="1"/>
          </p:cNvSpPr>
          <p:nvPr/>
        </p:nvSpPr>
        <p:spPr bwMode="gray">
          <a:xfrm>
            <a:off x="282575" y="625475"/>
            <a:ext cx="8537575" cy="427038"/>
          </a:xfrm>
          <a:prstGeom prst="rect">
            <a:avLst/>
          </a:prstGeom>
          <a:noFill/>
          <a:ln w="9525" algn="ctr">
            <a:noFill/>
            <a:miter lim="800000"/>
            <a:headEnd/>
            <a:tailEnd/>
          </a:ln>
        </p:spPr>
        <p:txBody>
          <a:bodyPr lIns="0" tIns="45716" rIns="91436" bIns="45716"/>
          <a:lstStyle/>
          <a:p>
            <a:pPr>
              <a:lnSpc>
                <a:spcPct val="90000"/>
              </a:lnSpc>
            </a:pPr>
            <a:endParaRPr lang="nl-NL" sz="2200">
              <a:solidFill>
                <a:schemeClr val="hlink"/>
              </a:solidFill>
            </a:endParaRPr>
          </a:p>
        </p:txBody>
      </p:sp>
      <p:sp>
        <p:nvSpPr>
          <p:cNvPr id="950281" name="Rectangle 9"/>
          <p:cNvSpPr>
            <a:spLocks noChangeArrowheads="1"/>
          </p:cNvSpPr>
          <p:nvPr/>
        </p:nvSpPr>
        <p:spPr bwMode="auto">
          <a:xfrm>
            <a:off x="6934200" y="6248400"/>
            <a:ext cx="1989138" cy="246063"/>
          </a:xfrm>
          <a:prstGeom prst="rect">
            <a:avLst/>
          </a:prstGeom>
          <a:solidFill>
            <a:schemeClr val="bg1"/>
          </a:solidFill>
          <a:ln w="9525">
            <a:noFill/>
            <a:miter lim="800000"/>
            <a:headEnd/>
            <a:tailEnd/>
          </a:ln>
          <a:effectLst/>
        </p:spPr>
        <p:txBody>
          <a:bodyPr wrap="none" lIns="91436" tIns="45716" rIns="91436" bIns="45716">
            <a:spAutoFit/>
          </a:bodyPr>
          <a:lstStyle/>
          <a:p>
            <a:pPr fontAlgn="auto">
              <a:spcBef>
                <a:spcPts val="0"/>
              </a:spcBef>
              <a:spcAft>
                <a:spcPts val="0"/>
              </a:spcAft>
              <a:defRPr/>
            </a:pPr>
            <a:r>
              <a:rPr lang="en-US" sz="1000" i="1" dirty="0">
                <a:solidFill>
                  <a:schemeClr val="bg1">
                    <a:lumMod val="50000"/>
                  </a:schemeClr>
                </a:solidFill>
                <a:latin typeface="+mn-lt"/>
                <a:cs typeface="+mn-cs"/>
              </a:rPr>
              <a:t>Source: Discussions with FTAM</a:t>
            </a:r>
            <a:endParaRPr lang="de-DE" sz="1000" i="1" dirty="0">
              <a:solidFill>
                <a:schemeClr val="bg1">
                  <a:lumMod val="50000"/>
                </a:schemeClr>
              </a:solidFill>
              <a:latin typeface="+mn-lt"/>
              <a:cs typeface="+mn-cs"/>
            </a:endParaRPr>
          </a:p>
        </p:txBody>
      </p:sp>
    </p:spTree>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Slide Number Placeholder 3"/>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0E049C61-EDF4-4393-B4A1-7D63E7C3DDD9}" type="slidenum">
              <a:rPr lang="en-US" sz="800"/>
              <a:pPr/>
              <a:t>14</a:t>
            </a:fld>
            <a:endParaRPr lang="en-US" sz="800"/>
          </a:p>
        </p:txBody>
      </p:sp>
      <p:sp>
        <p:nvSpPr>
          <p:cNvPr id="36866" name="Rectangle 3"/>
          <p:cNvSpPr>
            <a:spLocks noGrp="1" noChangeArrowheads="1"/>
          </p:cNvSpPr>
          <p:nvPr>
            <p:ph type="body" idx="4294967295"/>
          </p:nvPr>
        </p:nvSpPr>
        <p:spPr>
          <a:xfrm>
            <a:off x="1476375" y="1539875"/>
            <a:ext cx="7392988" cy="4937125"/>
          </a:xfrm>
        </p:spPr>
        <p:txBody>
          <a:bodyPr/>
          <a:lstStyle/>
          <a:p>
            <a:pPr eaLnBrk="1" hangingPunct="1"/>
            <a:endParaRPr lang="de-DE" smtClean="0"/>
          </a:p>
          <a:p>
            <a:pPr eaLnBrk="1" hangingPunct="1"/>
            <a:endParaRPr lang="de-DE" smtClean="0"/>
          </a:p>
          <a:p>
            <a:pPr eaLnBrk="1" hangingPunct="1"/>
            <a:endParaRPr lang="de-DE" smtClean="0"/>
          </a:p>
          <a:p>
            <a:pPr eaLnBrk="1" hangingPunct="1"/>
            <a:endParaRPr lang="de-DE" smtClean="0"/>
          </a:p>
          <a:p>
            <a:pPr marL="688975" lvl="1" indent="-342900" eaLnBrk="1" hangingPunct="1">
              <a:buClr>
                <a:srgbClr val="FFC000"/>
              </a:buClr>
              <a:buFont typeface="Arial" charset="0"/>
              <a:buNone/>
            </a:pPr>
            <a:r>
              <a:rPr lang="en-US" smtClean="0"/>
              <a:t>IT Assessment</a:t>
            </a:r>
          </a:p>
          <a:p>
            <a:pPr marL="688975" lvl="1" indent="-342900" eaLnBrk="1" hangingPunct="1">
              <a:buClr>
                <a:srgbClr val="FFC000"/>
              </a:buClr>
              <a:buFont typeface="Arial" charset="0"/>
              <a:buNone/>
            </a:pPr>
            <a:r>
              <a:rPr lang="en-US" smtClean="0"/>
              <a:t>Financial Management</a:t>
            </a:r>
          </a:p>
          <a:p>
            <a:pPr marL="688975" lvl="1" indent="-342900" eaLnBrk="1" hangingPunct="1">
              <a:buClr>
                <a:srgbClr val="FFC000"/>
              </a:buClr>
              <a:buFont typeface="Arial" charset="0"/>
              <a:buNone/>
            </a:pPr>
            <a:r>
              <a:rPr lang="en-US" smtClean="0"/>
              <a:t>Operational Metrics</a:t>
            </a:r>
          </a:p>
        </p:txBody>
      </p:sp>
      <p:grpSp>
        <p:nvGrpSpPr>
          <p:cNvPr id="36867" name="Group 4"/>
          <p:cNvGrpSpPr>
            <a:grpSpLocks/>
          </p:cNvGrpSpPr>
          <p:nvPr/>
        </p:nvGrpSpPr>
        <p:grpSpPr bwMode="auto">
          <a:xfrm>
            <a:off x="0" y="1412875"/>
            <a:ext cx="8869363" cy="503238"/>
            <a:chOff x="0" y="1071"/>
            <a:chExt cx="5587" cy="317"/>
          </a:xfrm>
        </p:grpSpPr>
        <p:sp>
          <p:nvSpPr>
            <p:cNvPr id="36890" name="Oval 5"/>
            <p:cNvSpPr>
              <a:spLocks noChangeArrowheads="1"/>
            </p:cNvSpPr>
            <p:nvPr>
              <p:custDataLst>
                <p:tags r:id="rId7"/>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1</a:t>
              </a:r>
            </a:p>
          </p:txBody>
        </p:sp>
        <p:sp>
          <p:nvSpPr>
            <p:cNvPr id="36891" name="Rectangle 6"/>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36892" name="Rectangle 7"/>
            <p:cNvSpPr>
              <a:spLocks noChangeArrowheads="1"/>
            </p:cNvSpPr>
            <p:nvPr>
              <p:custDataLst>
                <p:tags r:id="rId8"/>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36893" name="Rectangle 8"/>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nalysis and Assessment</a:t>
              </a:r>
              <a:endParaRPr lang="de-DE">
                <a:solidFill>
                  <a:srgbClr val="C0C0C0"/>
                </a:solidFill>
              </a:endParaRPr>
            </a:p>
          </p:txBody>
        </p:sp>
      </p:grpSp>
      <p:grpSp>
        <p:nvGrpSpPr>
          <p:cNvPr id="36868" name="Group 9"/>
          <p:cNvGrpSpPr>
            <a:grpSpLocks/>
          </p:cNvGrpSpPr>
          <p:nvPr/>
        </p:nvGrpSpPr>
        <p:grpSpPr bwMode="auto">
          <a:xfrm>
            <a:off x="0" y="4267200"/>
            <a:ext cx="8869363" cy="503238"/>
            <a:chOff x="0" y="1071"/>
            <a:chExt cx="5587" cy="317"/>
          </a:xfrm>
        </p:grpSpPr>
        <p:sp>
          <p:nvSpPr>
            <p:cNvPr id="36886" name="Oval 10"/>
            <p:cNvSpPr>
              <a:spLocks noChangeArrowheads="1"/>
            </p:cNvSpPr>
            <p:nvPr>
              <p:custDataLst>
                <p:tags r:id="rId5"/>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3</a:t>
              </a:r>
            </a:p>
          </p:txBody>
        </p:sp>
        <p:sp>
          <p:nvSpPr>
            <p:cNvPr id="36887" name="Rectangle 11"/>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36888" name="Rectangle 12"/>
            <p:cNvSpPr>
              <a:spLocks noChangeArrowheads="1"/>
            </p:cNvSpPr>
            <p:nvPr>
              <p:custDataLst>
                <p:tags r:id="rId6"/>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36889" name="Rectangle 13"/>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Planning &amp; Next Steps</a:t>
              </a:r>
            </a:p>
          </p:txBody>
        </p:sp>
      </p:grpSp>
      <p:grpSp>
        <p:nvGrpSpPr>
          <p:cNvPr id="36869" name="Group 14"/>
          <p:cNvGrpSpPr>
            <a:grpSpLocks/>
          </p:cNvGrpSpPr>
          <p:nvPr/>
        </p:nvGrpSpPr>
        <p:grpSpPr bwMode="auto">
          <a:xfrm>
            <a:off x="0" y="2062163"/>
            <a:ext cx="8869363" cy="503237"/>
            <a:chOff x="0" y="1071"/>
            <a:chExt cx="5587" cy="317"/>
          </a:xfrm>
        </p:grpSpPr>
        <p:sp>
          <p:nvSpPr>
            <p:cNvPr id="36882" name="Oval 15"/>
            <p:cNvSpPr>
              <a:spLocks noChangeArrowheads="1"/>
            </p:cNvSpPr>
            <p:nvPr>
              <p:custDataLst>
                <p:tags r:id="rId3"/>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2</a:t>
              </a:r>
            </a:p>
          </p:txBody>
        </p:sp>
        <p:sp>
          <p:nvSpPr>
            <p:cNvPr id="36883" name="Rectangle 16"/>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36884" name="Rectangle 17"/>
            <p:cNvSpPr>
              <a:spLocks noChangeArrowheads="1"/>
            </p:cNvSpPr>
            <p:nvPr>
              <p:custDataLst>
                <p:tags r:id="rId4"/>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36885" name="Rectangle 18"/>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t>Design Recommendations</a:t>
              </a:r>
            </a:p>
          </p:txBody>
        </p:sp>
      </p:grpSp>
      <p:grpSp>
        <p:nvGrpSpPr>
          <p:cNvPr id="36870" name="Group 20"/>
          <p:cNvGrpSpPr>
            <a:grpSpLocks/>
          </p:cNvGrpSpPr>
          <p:nvPr/>
        </p:nvGrpSpPr>
        <p:grpSpPr bwMode="auto">
          <a:xfrm>
            <a:off x="-9525" y="4914900"/>
            <a:ext cx="8869363" cy="503238"/>
            <a:chOff x="0" y="1071"/>
            <a:chExt cx="5587" cy="317"/>
          </a:xfrm>
        </p:grpSpPr>
        <p:sp>
          <p:nvSpPr>
            <p:cNvPr id="36878" name="Oval 21"/>
            <p:cNvSpPr>
              <a:spLocks noChangeArrowheads="1"/>
            </p:cNvSpPr>
            <p:nvPr>
              <p:custDataLst>
                <p:tags r:id="rId1"/>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4</a:t>
              </a:r>
            </a:p>
          </p:txBody>
        </p:sp>
        <p:sp>
          <p:nvSpPr>
            <p:cNvPr id="36879" name="Rectangle 22"/>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36880" name="Rectangle 23"/>
            <p:cNvSpPr>
              <a:spLocks noChangeArrowheads="1"/>
            </p:cNvSpPr>
            <p:nvPr>
              <p:custDataLst>
                <p:tags r:id="rId2"/>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36881" name="Rectangle 24"/>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ppendix</a:t>
              </a:r>
            </a:p>
          </p:txBody>
        </p:sp>
      </p:grpSp>
      <p:sp>
        <p:nvSpPr>
          <p:cNvPr id="36871" name="Oval 3"/>
          <p:cNvSpPr>
            <a:spLocks noChangeArrowheads="1"/>
          </p:cNvSpPr>
          <p:nvPr/>
        </p:nvSpPr>
        <p:spPr bwMode="gray">
          <a:xfrm>
            <a:off x="1600200" y="2601913"/>
            <a:ext cx="239713" cy="250825"/>
          </a:xfrm>
          <a:prstGeom prst="ellipse">
            <a:avLst/>
          </a:prstGeom>
          <a:solidFill>
            <a:srgbClr val="FF6600"/>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1100" b="1">
                <a:solidFill>
                  <a:schemeClr val="bg1"/>
                </a:solidFill>
              </a:rPr>
              <a:t>1</a:t>
            </a:r>
          </a:p>
        </p:txBody>
      </p:sp>
      <p:sp>
        <p:nvSpPr>
          <p:cNvPr id="36872" name="Oval 3"/>
          <p:cNvSpPr>
            <a:spLocks noChangeArrowheads="1"/>
          </p:cNvSpPr>
          <p:nvPr/>
        </p:nvSpPr>
        <p:spPr bwMode="gray">
          <a:xfrm>
            <a:off x="1600200" y="2852738"/>
            <a:ext cx="239713" cy="250825"/>
          </a:xfrm>
          <a:prstGeom prst="ellipse">
            <a:avLst/>
          </a:prstGeom>
          <a:solidFill>
            <a:srgbClr val="FF6600"/>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1100" b="1">
                <a:solidFill>
                  <a:schemeClr val="bg1"/>
                </a:solidFill>
              </a:rPr>
              <a:t>2</a:t>
            </a:r>
          </a:p>
        </p:txBody>
      </p:sp>
      <p:sp>
        <p:nvSpPr>
          <p:cNvPr id="36873" name="Oval 3"/>
          <p:cNvSpPr>
            <a:spLocks noChangeArrowheads="1"/>
          </p:cNvSpPr>
          <p:nvPr/>
        </p:nvSpPr>
        <p:spPr bwMode="gray">
          <a:xfrm>
            <a:off x="1600200" y="3103563"/>
            <a:ext cx="239713" cy="250825"/>
          </a:xfrm>
          <a:prstGeom prst="ellipse">
            <a:avLst/>
          </a:prstGeom>
          <a:solidFill>
            <a:srgbClr val="FF6600"/>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1100" b="1">
                <a:solidFill>
                  <a:schemeClr val="bg1"/>
                </a:solidFill>
              </a:rPr>
              <a:t>3</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Title 1"/>
          <p:cNvSpPr>
            <a:spLocks noGrp="1"/>
          </p:cNvSpPr>
          <p:nvPr>
            <p:ph type="title"/>
          </p:nvPr>
        </p:nvSpPr>
        <p:spPr>
          <a:xfrm>
            <a:off x="274638" y="593725"/>
            <a:ext cx="8047037" cy="701675"/>
          </a:xfrm>
        </p:spPr>
        <p:txBody>
          <a:bodyPr/>
          <a:lstStyle/>
          <a:p>
            <a:pPr eaLnBrk="1" hangingPunct="1"/>
            <a:r>
              <a:rPr lang="en-US" smtClean="0">
                <a:solidFill>
                  <a:schemeClr val="tx1"/>
                </a:solidFill>
              </a:rPr>
              <a:t>Investing in a centralized program management application will improve operational efficiency and sustainability</a:t>
            </a:r>
          </a:p>
        </p:txBody>
      </p:sp>
      <p:sp>
        <p:nvSpPr>
          <p:cNvPr id="344066" name="Slide Number Placeholder 3"/>
          <p:cNvSpPr>
            <a:spLocks noGrp="1"/>
          </p:cNvSpPr>
          <p:nvPr>
            <p:ph type="sldNum" sz="quarter" idx="10"/>
          </p:nvPr>
        </p:nvSpPr>
        <p:spPr/>
        <p:txBody>
          <a:bodyPr/>
          <a:lstStyle/>
          <a:p>
            <a:pPr fontAlgn="base">
              <a:spcBef>
                <a:spcPct val="0"/>
              </a:spcBef>
              <a:spcAft>
                <a:spcPct val="0"/>
              </a:spcAft>
              <a:defRPr/>
            </a:pPr>
            <a:fld id="{32637B1A-91CB-4284-8E1A-C1364CEDA52E}" type="slidenum">
              <a:rPr lang="en-US" smtClean="0">
                <a:cs typeface="Arial" charset="0"/>
              </a:rPr>
              <a:pPr fontAlgn="base">
                <a:spcBef>
                  <a:spcPct val="0"/>
                </a:spcBef>
                <a:spcAft>
                  <a:spcPct val="0"/>
                </a:spcAft>
                <a:defRPr/>
              </a:pPr>
              <a:t>15</a:t>
            </a:fld>
            <a:endParaRPr lang="en-US" smtClean="0">
              <a:cs typeface="Arial" charset="0"/>
            </a:endParaRPr>
          </a:p>
        </p:txBody>
      </p:sp>
      <p:sp>
        <p:nvSpPr>
          <p:cNvPr id="33795" name="Text Box 3"/>
          <p:cNvSpPr txBox="1">
            <a:spLocks noChangeArrowheads="1"/>
          </p:cNvSpPr>
          <p:nvPr/>
        </p:nvSpPr>
        <p:spPr bwMode="auto">
          <a:xfrm>
            <a:off x="381000" y="1511300"/>
            <a:ext cx="3479800" cy="304800"/>
          </a:xfrm>
          <a:prstGeom prst="rect">
            <a:avLst/>
          </a:prstGeom>
          <a:noFill/>
          <a:ln w="12700">
            <a:noFill/>
            <a:miter lim="800000"/>
            <a:headEnd/>
            <a:tailEnd/>
          </a:ln>
        </p:spPr>
        <p:txBody>
          <a:bodyPr>
            <a:spAutoFit/>
          </a:bodyPr>
          <a:lstStyle/>
          <a:p>
            <a:pPr algn="ctr"/>
            <a:r>
              <a:rPr lang="en-US" sz="1400" b="1"/>
              <a:t>From</a:t>
            </a:r>
          </a:p>
        </p:txBody>
      </p:sp>
      <p:sp>
        <p:nvSpPr>
          <p:cNvPr id="33796" name="Text Box 4"/>
          <p:cNvSpPr txBox="1">
            <a:spLocks noChangeArrowheads="1"/>
          </p:cNvSpPr>
          <p:nvPr/>
        </p:nvSpPr>
        <p:spPr bwMode="auto">
          <a:xfrm>
            <a:off x="6781800" y="1524000"/>
            <a:ext cx="388938" cy="307975"/>
          </a:xfrm>
          <a:prstGeom prst="rect">
            <a:avLst/>
          </a:prstGeom>
          <a:noFill/>
          <a:ln w="12700">
            <a:noFill/>
            <a:miter lim="800000"/>
            <a:headEnd/>
            <a:tailEnd/>
          </a:ln>
        </p:spPr>
        <p:txBody>
          <a:bodyPr wrap="none">
            <a:spAutoFit/>
          </a:bodyPr>
          <a:lstStyle/>
          <a:p>
            <a:r>
              <a:rPr lang="en-US" sz="1400" b="1"/>
              <a:t>To</a:t>
            </a:r>
          </a:p>
        </p:txBody>
      </p:sp>
      <p:sp>
        <p:nvSpPr>
          <p:cNvPr id="33797" name="Line 6"/>
          <p:cNvSpPr>
            <a:spLocks noChangeShapeType="1"/>
          </p:cNvSpPr>
          <p:nvPr/>
        </p:nvSpPr>
        <p:spPr bwMode="auto">
          <a:xfrm>
            <a:off x="4902200" y="1790700"/>
            <a:ext cx="4275138" cy="0"/>
          </a:xfrm>
          <a:prstGeom prst="line">
            <a:avLst/>
          </a:prstGeom>
          <a:noFill/>
          <a:ln w="12700">
            <a:solidFill>
              <a:schemeClr val="tx1"/>
            </a:solidFill>
            <a:round/>
            <a:headEnd/>
            <a:tailEnd/>
          </a:ln>
        </p:spPr>
        <p:txBody>
          <a:bodyPr wrap="none" anchor="ctr"/>
          <a:lstStyle/>
          <a:p>
            <a:endParaRPr lang="en-US"/>
          </a:p>
        </p:txBody>
      </p:sp>
      <p:sp>
        <p:nvSpPr>
          <p:cNvPr id="33798" name="Line 7"/>
          <p:cNvSpPr>
            <a:spLocks noChangeShapeType="1"/>
          </p:cNvSpPr>
          <p:nvPr/>
        </p:nvSpPr>
        <p:spPr bwMode="auto">
          <a:xfrm>
            <a:off x="436563" y="1790700"/>
            <a:ext cx="3348037" cy="0"/>
          </a:xfrm>
          <a:prstGeom prst="line">
            <a:avLst/>
          </a:prstGeom>
          <a:noFill/>
          <a:ln w="12700">
            <a:solidFill>
              <a:schemeClr val="tx1"/>
            </a:solidFill>
            <a:round/>
            <a:headEnd/>
            <a:tailEnd/>
          </a:ln>
        </p:spPr>
        <p:txBody>
          <a:bodyPr wrap="none" anchor="ctr"/>
          <a:lstStyle/>
          <a:p>
            <a:endParaRPr lang="en-US"/>
          </a:p>
        </p:txBody>
      </p:sp>
      <p:sp>
        <p:nvSpPr>
          <p:cNvPr id="11" name="AutoShape 9"/>
          <p:cNvSpPr>
            <a:spLocks noChangeArrowheads="1"/>
          </p:cNvSpPr>
          <p:nvPr/>
        </p:nvSpPr>
        <p:spPr bwMode="auto">
          <a:xfrm>
            <a:off x="4025900" y="1993900"/>
            <a:ext cx="673100" cy="4178300"/>
          </a:xfrm>
          <a:prstGeom prst="homePlate">
            <a:avLst>
              <a:gd name="adj" fmla="val 55769"/>
            </a:avLst>
          </a:prstGeom>
          <a:gradFill rotWithShape="0">
            <a:gsLst>
              <a:gs pos="0">
                <a:schemeClr val="accent1"/>
              </a:gs>
              <a:gs pos="100000">
                <a:schemeClr val="accent1">
                  <a:gamma/>
                  <a:shade val="6275"/>
                  <a:invGamma/>
                </a:schemeClr>
              </a:gs>
            </a:gsLst>
            <a:lin ang="0" scaled="1"/>
          </a:gradFill>
          <a:ln w="12700">
            <a:solidFill>
              <a:schemeClr val="tx1"/>
            </a:solidFill>
            <a:miter lim="800000"/>
            <a:headEnd/>
            <a:tailEnd/>
          </a:ln>
          <a:effectLst/>
        </p:spPr>
        <p:txBody>
          <a:bodyPr wrap="none" anchor="ctr"/>
          <a:lstStyle/>
          <a:p>
            <a:pPr fontAlgn="auto">
              <a:spcBef>
                <a:spcPts val="0"/>
              </a:spcBef>
              <a:spcAft>
                <a:spcPts val="0"/>
              </a:spcAft>
              <a:defRPr/>
            </a:pPr>
            <a:endParaRPr lang="en-US">
              <a:latin typeface="+mn-lt"/>
              <a:cs typeface="+mn-cs"/>
            </a:endParaRPr>
          </a:p>
        </p:txBody>
      </p:sp>
      <p:sp>
        <p:nvSpPr>
          <p:cNvPr id="33800" name="Rectangle 13"/>
          <p:cNvSpPr>
            <a:spLocks noChangeArrowheads="1"/>
          </p:cNvSpPr>
          <p:nvPr/>
        </p:nvSpPr>
        <p:spPr bwMode="auto">
          <a:xfrm>
            <a:off x="381000" y="1905000"/>
            <a:ext cx="3429000" cy="5070475"/>
          </a:xfrm>
          <a:prstGeom prst="rect">
            <a:avLst/>
          </a:prstGeom>
          <a:noFill/>
          <a:ln w="9525">
            <a:noFill/>
            <a:miter lim="800000"/>
            <a:headEnd/>
            <a:tailEnd/>
          </a:ln>
        </p:spPr>
        <p:txBody>
          <a:bodyPr>
            <a:spAutoFit/>
          </a:bodyPr>
          <a:lstStyle/>
          <a:p>
            <a:pPr marL="180975" indent="-180975">
              <a:spcBef>
                <a:spcPts val="1200"/>
              </a:spcBef>
              <a:buClr>
                <a:srgbClr val="7889FB"/>
              </a:buClr>
              <a:buFont typeface="Wingdings" pitchFamily="2" charset="2"/>
              <a:buChar char="§"/>
            </a:pPr>
            <a:r>
              <a:rPr lang="en-US" sz="1600"/>
              <a:t>No real time access to project information</a:t>
            </a:r>
          </a:p>
          <a:p>
            <a:pPr marL="180975" indent="-180975">
              <a:spcBef>
                <a:spcPts val="1200"/>
              </a:spcBef>
              <a:buClr>
                <a:srgbClr val="7889FB"/>
              </a:buClr>
              <a:buFont typeface="Wingdings" pitchFamily="2" charset="2"/>
              <a:buChar char="§"/>
            </a:pPr>
            <a:r>
              <a:rPr lang="en-US" sz="1600"/>
              <a:t>Limited visibility of overall key performance indicators and project details</a:t>
            </a:r>
          </a:p>
          <a:p>
            <a:pPr marL="180975" indent="-180975">
              <a:spcBef>
                <a:spcPts val="1200"/>
              </a:spcBef>
              <a:buClr>
                <a:srgbClr val="7889FB"/>
              </a:buClr>
              <a:buFont typeface="Wingdings" pitchFamily="2" charset="2"/>
              <a:buChar char="§"/>
            </a:pPr>
            <a:r>
              <a:rPr lang="en-US" sz="1600"/>
              <a:t>Manual input and analysis of key performance indicators</a:t>
            </a:r>
          </a:p>
          <a:p>
            <a:pPr marL="180975" indent="-180975">
              <a:spcBef>
                <a:spcPts val="1200"/>
              </a:spcBef>
              <a:buClr>
                <a:srgbClr val="7889FB"/>
              </a:buClr>
              <a:buFont typeface="Wingdings" pitchFamily="2" charset="2"/>
              <a:buChar char="§"/>
            </a:pPr>
            <a:r>
              <a:rPr lang="en-US" sz="1600"/>
              <a:t>Notable errors in information collection  </a:t>
            </a:r>
          </a:p>
          <a:p>
            <a:pPr marL="180975" indent="-180975">
              <a:spcBef>
                <a:spcPts val="1200"/>
              </a:spcBef>
              <a:buClr>
                <a:srgbClr val="7889FB"/>
              </a:buClr>
              <a:buFont typeface="Wingdings" pitchFamily="2" charset="2"/>
              <a:buChar char="§"/>
            </a:pPr>
            <a:r>
              <a:rPr lang="en-US" sz="1600"/>
              <a:t>Lag in response time to reporting requirements</a:t>
            </a:r>
          </a:p>
          <a:p>
            <a:pPr marL="180975" indent="-180975">
              <a:spcBef>
                <a:spcPts val="1200"/>
              </a:spcBef>
              <a:buClr>
                <a:srgbClr val="7889FB"/>
              </a:buClr>
              <a:buFont typeface="Wingdings" pitchFamily="2" charset="2"/>
              <a:buChar char="§"/>
            </a:pPr>
            <a:r>
              <a:rPr lang="en-US" sz="1600"/>
              <a:t>Limited number of resources trained to use current tools</a:t>
            </a:r>
          </a:p>
          <a:p>
            <a:pPr marL="180975" indent="-180975">
              <a:spcBef>
                <a:spcPts val="1200"/>
              </a:spcBef>
              <a:buClr>
                <a:srgbClr val="7889FB"/>
              </a:buClr>
              <a:buFont typeface="Wingdings" pitchFamily="2" charset="2"/>
              <a:buChar char="§"/>
            </a:pPr>
            <a:r>
              <a:rPr lang="en-US" sz="1600"/>
              <a:t>Paper based recording methods for supporting documentation</a:t>
            </a:r>
          </a:p>
          <a:p>
            <a:pPr marL="180975" indent="-180975">
              <a:spcBef>
                <a:spcPts val="1200"/>
              </a:spcBef>
              <a:buClr>
                <a:srgbClr val="7889FB"/>
              </a:buClr>
              <a:buFont typeface="Wingdings" pitchFamily="2" charset="2"/>
              <a:buChar char="§"/>
            </a:pPr>
            <a:endParaRPr lang="en-US" sz="1600"/>
          </a:p>
        </p:txBody>
      </p:sp>
      <p:sp>
        <p:nvSpPr>
          <p:cNvPr id="33801" name="Rectangle 14"/>
          <p:cNvSpPr>
            <a:spLocks noChangeArrowheads="1"/>
          </p:cNvSpPr>
          <p:nvPr/>
        </p:nvSpPr>
        <p:spPr bwMode="auto">
          <a:xfrm>
            <a:off x="4964113" y="1873250"/>
            <a:ext cx="3798887" cy="5278438"/>
          </a:xfrm>
          <a:prstGeom prst="rect">
            <a:avLst/>
          </a:prstGeom>
          <a:noFill/>
          <a:ln w="9525">
            <a:noFill/>
            <a:miter lim="800000"/>
            <a:headEnd/>
            <a:tailEnd/>
          </a:ln>
        </p:spPr>
        <p:txBody>
          <a:bodyPr>
            <a:spAutoFit/>
          </a:bodyPr>
          <a:lstStyle/>
          <a:p>
            <a:pPr marL="180975" indent="-180975">
              <a:spcBef>
                <a:spcPts val="1200"/>
              </a:spcBef>
              <a:buClr>
                <a:srgbClr val="7889FB"/>
              </a:buClr>
              <a:buFont typeface="Wingdings" pitchFamily="2" charset="2"/>
              <a:buChar char="§"/>
            </a:pPr>
            <a:r>
              <a:rPr lang="en-US"/>
              <a:t>Real time access to information </a:t>
            </a:r>
          </a:p>
          <a:p>
            <a:pPr marL="180975" indent="-180975">
              <a:spcBef>
                <a:spcPts val="1200"/>
              </a:spcBef>
              <a:buClr>
                <a:srgbClr val="7889FB"/>
              </a:buClr>
              <a:buFont typeface="Wingdings" pitchFamily="2" charset="2"/>
              <a:buChar char="§"/>
            </a:pPr>
            <a:r>
              <a:rPr lang="en-US"/>
              <a:t>Integrated view of project status and performance</a:t>
            </a:r>
          </a:p>
          <a:p>
            <a:pPr marL="180975" indent="-180975">
              <a:spcBef>
                <a:spcPts val="1200"/>
              </a:spcBef>
              <a:buClr>
                <a:srgbClr val="7889FB"/>
              </a:buClr>
              <a:buFont typeface="Wingdings" pitchFamily="2" charset="2"/>
              <a:buChar char="§"/>
            </a:pPr>
            <a:r>
              <a:rPr lang="en-US"/>
              <a:t>Automated tool for data collection and analysis</a:t>
            </a:r>
          </a:p>
          <a:p>
            <a:pPr marL="180975" indent="-180975">
              <a:spcBef>
                <a:spcPts val="1200"/>
              </a:spcBef>
              <a:buClr>
                <a:srgbClr val="7889FB"/>
              </a:buClr>
              <a:buFont typeface="Wingdings" pitchFamily="2" charset="2"/>
              <a:buChar char="§"/>
            </a:pPr>
            <a:r>
              <a:rPr lang="en-US"/>
              <a:t>Controlled entry and role based access reducing data error risks</a:t>
            </a:r>
          </a:p>
          <a:p>
            <a:pPr marL="180975" indent="-180975">
              <a:spcBef>
                <a:spcPts val="1200"/>
              </a:spcBef>
              <a:buClr>
                <a:srgbClr val="7889FB"/>
              </a:buClr>
              <a:buFont typeface="Wingdings" pitchFamily="2" charset="2"/>
              <a:buChar char="§"/>
            </a:pPr>
            <a:r>
              <a:rPr lang="en-US"/>
              <a:t>Friendly user interfaces and customized dashboards supporting user acceptance</a:t>
            </a:r>
          </a:p>
          <a:p>
            <a:pPr marL="180975" indent="-180975">
              <a:spcBef>
                <a:spcPts val="1200"/>
              </a:spcBef>
              <a:buClr>
                <a:srgbClr val="7889FB"/>
              </a:buClr>
              <a:buFont typeface="Wingdings" pitchFamily="2" charset="2"/>
              <a:buChar char="§"/>
            </a:pPr>
            <a:r>
              <a:rPr lang="en-US"/>
              <a:t>Flexible development model for customization and future project requirements</a:t>
            </a:r>
          </a:p>
          <a:p>
            <a:pPr marL="180975" indent="-180975">
              <a:spcBef>
                <a:spcPts val="1200"/>
              </a:spcBef>
              <a:buClr>
                <a:srgbClr val="7889FB"/>
              </a:buClr>
              <a:buFont typeface="Wingdings" pitchFamily="2" charset="2"/>
              <a:buChar char="§"/>
            </a:pPr>
            <a:endParaRPr lang="en-US"/>
          </a:p>
          <a:p>
            <a:pPr marL="180975" indent="-180975">
              <a:spcBef>
                <a:spcPts val="1200"/>
              </a:spcBef>
              <a:buClr>
                <a:srgbClr val="7889FB"/>
              </a:buClr>
              <a:buFont typeface="Wingdings" pitchFamily="2" charset="2"/>
              <a:buChar char="§"/>
            </a:pPr>
            <a:endParaRPr lang="en-US"/>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1" name="Rectangle 2"/>
          <p:cNvSpPr>
            <a:spLocks noGrp="1" noChangeArrowheads="1"/>
          </p:cNvSpPr>
          <p:nvPr>
            <p:ph type="title"/>
          </p:nvPr>
        </p:nvSpPr>
        <p:spPr/>
        <p:txBody>
          <a:bodyPr/>
          <a:lstStyle/>
          <a:p>
            <a:r>
              <a:rPr lang="en-US" smtClean="0"/>
              <a:t>Design Considerations</a:t>
            </a:r>
          </a:p>
        </p:txBody>
      </p:sp>
      <p:sp>
        <p:nvSpPr>
          <p:cNvPr id="40962" name="Rectangle 3"/>
          <p:cNvSpPr>
            <a:spLocks noGrp="1" noChangeArrowheads="1"/>
          </p:cNvSpPr>
          <p:nvPr>
            <p:ph type="body" idx="1"/>
          </p:nvPr>
        </p:nvSpPr>
        <p:spPr/>
        <p:txBody>
          <a:bodyPr/>
          <a:lstStyle/>
          <a:p>
            <a:r>
              <a:rPr lang="en-US" sz="1800" smtClean="0"/>
              <a:t>What to use</a:t>
            </a:r>
          </a:p>
          <a:p>
            <a:r>
              <a:rPr lang="en-US" sz="1800" smtClean="0"/>
              <a:t>What not to use, why not</a:t>
            </a:r>
          </a:p>
          <a:p>
            <a:r>
              <a:rPr lang="en-US" sz="1800" smtClean="0"/>
              <a:t>Implementation cost</a:t>
            </a:r>
          </a:p>
          <a:p>
            <a:r>
              <a:rPr lang="en-US" sz="1800" smtClean="0"/>
              <a:t>Maintenance/sustainability</a:t>
            </a:r>
          </a:p>
          <a:p>
            <a:r>
              <a:rPr lang="en-US" sz="1800" smtClean="0"/>
              <a:t>Constraints</a:t>
            </a:r>
          </a:p>
          <a:p>
            <a:pPr lvl="1"/>
            <a:r>
              <a:rPr lang="en-US" sz="1800" smtClean="0"/>
              <a:t>Real time data access and data collection</a:t>
            </a:r>
          </a:p>
          <a:p>
            <a:pPr lvl="1"/>
            <a:r>
              <a:rPr lang="en-US" sz="1800" smtClean="0"/>
              <a:t>Cost</a:t>
            </a:r>
          </a:p>
          <a:p>
            <a:pPr lvl="1"/>
            <a:r>
              <a:rPr lang="en-US" sz="1800" smtClean="0"/>
              <a:t>Feasibility of technology availability</a:t>
            </a:r>
          </a:p>
          <a:p>
            <a:pPr lvl="1">
              <a:buFont typeface="Arial" charset="0"/>
              <a:buNone/>
            </a:pPr>
            <a:endParaRPr lang="en-US" smtClean="0"/>
          </a:p>
        </p:txBody>
      </p:sp>
      <p:pic>
        <p:nvPicPr>
          <p:cNvPr id="40963" name="Picture 49"/>
          <p:cNvPicPr>
            <a:picLocks noChangeAspect="1" noChangeArrowheads="1"/>
          </p:cNvPicPr>
          <p:nvPr/>
        </p:nvPicPr>
        <p:blipFill>
          <a:blip r:embed="rId2"/>
          <a:srcRect/>
          <a:stretch>
            <a:fillRect/>
          </a:stretch>
        </p:blipFill>
        <p:spPr bwMode="auto">
          <a:xfrm>
            <a:off x="3644900" y="1295400"/>
            <a:ext cx="1004888" cy="982663"/>
          </a:xfrm>
          <a:prstGeom prst="rect">
            <a:avLst/>
          </a:prstGeom>
          <a:noFill/>
          <a:ln w="9525" algn="ctr">
            <a:noFill/>
            <a:miter lim="800000"/>
            <a:headEnd/>
            <a:tailEnd/>
          </a:ln>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Rectangle 2"/>
          <p:cNvSpPr>
            <a:spLocks noChangeArrowheads="1"/>
          </p:cNvSpPr>
          <p:nvPr/>
        </p:nvSpPr>
        <p:spPr bwMode="auto">
          <a:xfrm>
            <a:off x="196850" y="4186238"/>
            <a:ext cx="8893175" cy="2519362"/>
          </a:xfrm>
          <a:prstGeom prst="rect">
            <a:avLst/>
          </a:prstGeom>
          <a:solidFill>
            <a:schemeClr val="accent1">
              <a:alpha val="16862"/>
            </a:schemeClr>
          </a:solidFill>
          <a:ln w="9525">
            <a:solidFill>
              <a:schemeClr val="tx1"/>
            </a:solidFill>
            <a:miter lim="800000"/>
            <a:headEnd/>
            <a:tailEnd/>
          </a:ln>
        </p:spPr>
        <p:txBody>
          <a:bodyPr wrap="none" anchor="ctr"/>
          <a:lstStyle/>
          <a:p>
            <a:endParaRPr lang="en-US"/>
          </a:p>
        </p:txBody>
      </p:sp>
      <p:pic>
        <p:nvPicPr>
          <p:cNvPr id="16386" name="Picture 3" descr="world map"/>
          <p:cNvPicPr>
            <a:picLocks noChangeAspect="1" noChangeArrowheads="1"/>
          </p:cNvPicPr>
          <p:nvPr/>
        </p:nvPicPr>
        <p:blipFill>
          <a:blip r:embed="rId2"/>
          <a:srcRect/>
          <a:stretch>
            <a:fillRect/>
          </a:stretch>
        </p:blipFill>
        <p:spPr bwMode="auto">
          <a:xfrm>
            <a:off x="238125" y="1139825"/>
            <a:ext cx="4972050" cy="3046413"/>
          </a:xfrm>
          <a:prstGeom prst="rect">
            <a:avLst/>
          </a:prstGeom>
          <a:noFill/>
          <a:ln w="9525">
            <a:noFill/>
            <a:miter lim="800000"/>
            <a:headEnd/>
            <a:tailEnd/>
          </a:ln>
        </p:spPr>
      </p:pic>
      <p:pic>
        <p:nvPicPr>
          <p:cNvPr id="16387" name="Picture 4" descr="Djurdjica Damjanovic"/>
          <p:cNvPicPr>
            <a:picLocks noChangeAspect="1" noChangeArrowheads="1"/>
          </p:cNvPicPr>
          <p:nvPr/>
        </p:nvPicPr>
        <p:blipFill>
          <a:blip r:embed="rId3"/>
          <a:srcRect/>
          <a:stretch>
            <a:fillRect/>
          </a:stretch>
        </p:blipFill>
        <p:spPr bwMode="auto">
          <a:xfrm>
            <a:off x="2622550" y="1139825"/>
            <a:ext cx="242888" cy="252413"/>
          </a:xfrm>
          <a:prstGeom prst="rect">
            <a:avLst/>
          </a:prstGeom>
          <a:noFill/>
          <a:ln w="9525">
            <a:noFill/>
            <a:miter lim="800000"/>
            <a:headEnd/>
            <a:tailEnd/>
          </a:ln>
        </p:spPr>
      </p:pic>
      <p:pic>
        <p:nvPicPr>
          <p:cNvPr id="16388" name="Picture 5" descr="Patrick Joussen"/>
          <p:cNvPicPr>
            <a:picLocks noChangeAspect="1" noChangeArrowheads="1"/>
          </p:cNvPicPr>
          <p:nvPr/>
        </p:nvPicPr>
        <p:blipFill>
          <a:blip r:embed="rId4"/>
          <a:srcRect/>
          <a:stretch>
            <a:fillRect/>
          </a:stretch>
        </p:blipFill>
        <p:spPr bwMode="auto">
          <a:xfrm>
            <a:off x="1970088" y="1139825"/>
            <a:ext cx="244475" cy="252413"/>
          </a:xfrm>
          <a:prstGeom prst="rect">
            <a:avLst/>
          </a:prstGeom>
          <a:noFill/>
          <a:ln w="9525">
            <a:noFill/>
            <a:miter lim="800000"/>
            <a:headEnd/>
            <a:tailEnd/>
          </a:ln>
        </p:spPr>
      </p:pic>
      <p:pic>
        <p:nvPicPr>
          <p:cNvPr id="16389" name="Picture 6" descr="Dany Le Goaix"/>
          <p:cNvPicPr>
            <a:picLocks noChangeAspect="1" noChangeArrowheads="1"/>
          </p:cNvPicPr>
          <p:nvPr/>
        </p:nvPicPr>
        <p:blipFill>
          <a:blip r:embed="rId5"/>
          <a:srcRect/>
          <a:stretch>
            <a:fillRect/>
          </a:stretch>
        </p:blipFill>
        <p:spPr bwMode="auto">
          <a:xfrm>
            <a:off x="917575" y="1876425"/>
            <a:ext cx="242888" cy="252413"/>
          </a:xfrm>
          <a:prstGeom prst="rect">
            <a:avLst/>
          </a:prstGeom>
          <a:noFill/>
          <a:ln w="9525">
            <a:noFill/>
            <a:miter lim="800000"/>
            <a:headEnd/>
            <a:tailEnd/>
          </a:ln>
        </p:spPr>
      </p:pic>
      <p:pic>
        <p:nvPicPr>
          <p:cNvPr id="16390" name="Picture 7" descr="Michael Keller"/>
          <p:cNvPicPr>
            <a:picLocks noChangeAspect="1" noChangeArrowheads="1"/>
          </p:cNvPicPr>
          <p:nvPr/>
        </p:nvPicPr>
        <p:blipFill>
          <a:blip r:embed="rId6"/>
          <a:srcRect/>
          <a:stretch>
            <a:fillRect/>
          </a:stretch>
        </p:blipFill>
        <p:spPr bwMode="auto">
          <a:xfrm>
            <a:off x="2714625" y="2449513"/>
            <a:ext cx="242888" cy="252412"/>
          </a:xfrm>
          <a:prstGeom prst="rect">
            <a:avLst/>
          </a:prstGeom>
          <a:noFill/>
          <a:ln w="9525">
            <a:noFill/>
            <a:miter lim="800000"/>
            <a:headEnd/>
            <a:tailEnd/>
          </a:ln>
        </p:spPr>
      </p:pic>
      <p:pic>
        <p:nvPicPr>
          <p:cNvPr id="16391" name="Picture 8" descr="Gerry Broennimann"/>
          <p:cNvPicPr>
            <a:picLocks noChangeAspect="1" noChangeArrowheads="1"/>
          </p:cNvPicPr>
          <p:nvPr/>
        </p:nvPicPr>
        <p:blipFill>
          <a:blip r:embed="rId7"/>
          <a:srcRect/>
          <a:stretch>
            <a:fillRect/>
          </a:stretch>
        </p:blipFill>
        <p:spPr bwMode="auto">
          <a:xfrm>
            <a:off x="2298700" y="1139825"/>
            <a:ext cx="244475" cy="252413"/>
          </a:xfrm>
          <a:prstGeom prst="rect">
            <a:avLst/>
          </a:prstGeom>
          <a:noFill/>
          <a:ln w="9525">
            <a:noFill/>
            <a:miter lim="800000"/>
            <a:headEnd/>
            <a:tailEnd/>
          </a:ln>
        </p:spPr>
      </p:pic>
      <p:pic>
        <p:nvPicPr>
          <p:cNvPr id="16392" name="Picture 9" descr="Lauren Lopez De Victoria"/>
          <p:cNvPicPr>
            <a:picLocks noChangeAspect="1" noChangeArrowheads="1"/>
          </p:cNvPicPr>
          <p:nvPr/>
        </p:nvPicPr>
        <p:blipFill>
          <a:blip r:embed="rId8"/>
          <a:srcRect/>
          <a:stretch>
            <a:fillRect/>
          </a:stretch>
        </p:blipFill>
        <p:spPr bwMode="auto">
          <a:xfrm>
            <a:off x="971550" y="2671763"/>
            <a:ext cx="242888" cy="252412"/>
          </a:xfrm>
          <a:prstGeom prst="rect">
            <a:avLst/>
          </a:prstGeom>
          <a:noFill/>
          <a:ln w="9525">
            <a:noFill/>
            <a:miter lim="800000"/>
            <a:headEnd/>
            <a:tailEnd/>
          </a:ln>
        </p:spPr>
      </p:pic>
      <p:pic>
        <p:nvPicPr>
          <p:cNvPr id="16393" name="Picture 10" descr="Sayoko Matsumoto"/>
          <p:cNvPicPr>
            <a:picLocks noChangeAspect="1" noChangeArrowheads="1"/>
          </p:cNvPicPr>
          <p:nvPr/>
        </p:nvPicPr>
        <p:blipFill>
          <a:blip r:embed="rId9"/>
          <a:srcRect/>
          <a:stretch>
            <a:fillRect/>
          </a:stretch>
        </p:blipFill>
        <p:spPr bwMode="auto">
          <a:xfrm>
            <a:off x="4049713" y="2449513"/>
            <a:ext cx="244475" cy="252412"/>
          </a:xfrm>
          <a:prstGeom prst="rect">
            <a:avLst/>
          </a:prstGeom>
          <a:noFill/>
          <a:ln w="9525">
            <a:noFill/>
            <a:miter lim="800000"/>
            <a:headEnd/>
            <a:tailEnd/>
          </a:ln>
        </p:spPr>
      </p:pic>
      <p:pic>
        <p:nvPicPr>
          <p:cNvPr id="16394" name="Picture 11" descr="Ana Paula Maranho Csuraji"/>
          <p:cNvPicPr>
            <a:picLocks noChangeAspect="1" noChangeArrowheads="1"/>
          </p:cNvPicPr>
          <p:nvPr/>
        </p:nvPicPr>
        <p:blipFill>
          <a:blip r:embed="rId10"/>
          <a:srcRect/>
          <a:stretch>
            <a:fillRect/>
          </a:stretch>
        </p:blipFill>
        <p:spPr bwMode="auto">
          <a:xfrm>
            <a:off x="1746250" y="3214688"/>
            <a:ext cx="242888" cy="252412"/>
          </a:xfrm>
          <a:prstGeom prst="rect">
            <a:avLst/>
          </a:prstGeom>
          <a:noFill/>
          <a:ln w="9525">
            <a:noFill/>
            <a:miter lim="800000"/>
            <a:headEnd/>
            <a:tailEnd/>
          </a:ln>
        </p:spPr>
      </p:pic>
      <p:pic>
        <p:nvPicPr>
          <p:cNvPr id="16395" name="Picture 12" descr="Susan Mitchell"/>
          <p:cNvPicPr>
            <a:picLocks noChangeAspect="1" noChangeArrowheads="1"/>
          </p:cNvPicPr>
          <p:nvPr/>
        </p:nvPicPr>
        <p:blipFill>
          <a:blip r:embed="rId11"/>
          <a:srcRect/>
          <a:stretch>
            <a:fillRect/>
          </a:stretch>
        </p:blipFill>
        <p:spPr bwMode="auto">
          <a:xfrm>
            <a:off x="1147763" y="2401888"/>
            <a:ext cx="244475" cy="252412"/>
          </a:xfrm>
          <a:prstGeom prst="rect">
            <a:avLst/>
          </a:prstGeom>
          <a:noFill/>
          <a:ln w="9525">
            <a:noFill/>
            <a:miter lim="800000"/>
            <a:headEnd/>
            <a:tailEnd/>
          </a:ln>
        </p:spPr>
      </p:pic>
      <p:pic>
        <p:nvPicPr>
          <p:cNvPr id="16396" name="Picture 13" descr="Laurie Miller"/>
          <p:cNvPicPr>
            <a:picLocks noChangeAspect="1" noChangeArrowheads="1"/>
          </p:cNvPicPr>
          <p:nvPr/>
        </p:nvPicPr>
        <p:blipFill>
          <a:blip r:embed="rId12"/>
          <a:srcRect/>
          <a:stretch>
            <a:fillRect/>
          </a:stretch>
        </p:blipFill>
        <p:spPr bwMode="auto">
          <a:xfrm>
            <a:off x="869950" y="2497138"/>
            <a:ext cx="244475" cy="252412"/>
          </a:xfrm>
          <a:prstGeom prst="rect">
            <a:avLst/>
          </a:prstGeom>
          <a:noFill/>
          <a:ln w="9525">
            <a:noFill/>
            <a:miter lim="800000"/>
            <a:headEnd/>
            <a:tailEnd/>
          </a:ln>
        </p:spPr>
      </p:pic>
      <p:pic>
        <p:nvPicPr>
          <p:cNvPr id="16397" name="Picture 14" descr="Grant Alvis"/>
          <p:cNvPicPr>
            <a:picLocks noChangeAspect="1" noChangeArrowheads="1"/>
          </p:cNvPicPr>
          <p:nvPr/>
        </p:nvPicPr>
        <p:blipFill>
          <a:blip r:embed="rId13"/>
          <a:srcRect/>
          <a:stretch>
            <a:fillRect/>
          </a:stretch>
        </p:blipFill>
        <p:spPr bwMode="auto">
          <a:xfrm>
            <a:off x="685800" y="2306638"/>
            <a:ext cx="244475" cy="252412"/>
          </a:xfrm>
          <a:prstGeom prst="rect">
            <a:avLst/>
          </a:prstGeom>
          <a:noFill/>
          <a:ln w="9525">
            <a:noFill/>
            <a:miter lim="800000"/>
            <a:headEnd/>
            <a:tailEnd/>
          </a:ln>
        </p:spPr>
      </p:pic>
      <p:pic>
        <p:nvPicPr>
          <p:cNvPr id="16398" name="Picture 15" descr="Chandra Singh"/>
          <p:cNvPicPr>
            <a:picLocks noChangeAspect="1" noChangeArrowheads="1"/>
          </p:cNvPicPr>
          <p:nvPr/>
        </p:nvPicPr>
        <p:blipFill>
          <a:blip r:embed="rId14"/>
          <a:srcRect/>
          <a:stretch>
            <a:fillRect/>
          </a:stretch>
        </p:blipFill>
        <p:spPr bwMode="auto">
          <a:xfrm>
            <a:off x="3221038" y="2782888"/>
            <a:ext cx="244475" cy="254000"/>
          </a:xfrm>
          <a:prstGeom prst="rect">
            <a:avLst/>
          </a:prstGeom>
          <a:noFill/>
          <a:ln w="9525">
            <a:noFill/>
            <a:miter lim="800000"/>
            <a:headEnd/>
            <a:tailEnd/>
          </a:ln>
        </p:spPr>
      </p:pic>
      <p:sp>
        <p:nvSpPr>
          <p:cNvPr id="16399" name="Line 16"/>
          <p:cNvSpPr>
            <a:spLocks noChangeShapeType="1"/>
          </p:cNvSpPr>
          <p:nvPr/>
        </p:nvSpPr>
        <p:spPr bwMode="auto">
          <a:xfrm>
            <a:off x="2124075" y="1411288"/>
            <a:ext cx="220663" cy="895350"/>
          </a:xfrm>
          <a:prstGeom prst="line">
            <a:avLst/>
          </a:prstGeom>
          <a:noFill/>
          <a:ln w="9525">
            <a:solidFill>
              <a:schemeClr val="tx1"/>
            </a:solidFill>
            <a:round/>
            <a:headEnd/>
            <a:tailEnd/>
          </a:ln>
        </p:spPr>
        <p:txBody>
          <a:bodyPr/>
          <a:lstStyle/>
          <a:p>
            <a:endParaRPr lang="en-US"/>
          </a:p>
        </p:txBody>
      </p:sp>
      <p:sp>
        <p:nvSpPr>
          <p:cNvPr id="16400" name="Line 17"/>
          <p:cNvSpPr>
            <a:spLocks noChangeShapeType="1"/>
          </p:cNvSpPr>
          <p:nvPr/>
        </p:nvSpPr>
        <p:spPr bwMode="auto">
          <a:xfrm>
            <a:off x="2438400" y="1411288"/>
            <a:ext cx="0" cy="895350"/>
          </a:xfrm>
          <a:prstGeom prst="line">
            <a:avLst/>
          </a:prstGeom>
          <a:noFill/>
          <a:ln w="9525">
            <a:solidFill>
              <a:schemeClr val="tx1"/>
            </a:solidFill>
            <a:round/>
            <a:headEnd/>
            <a:tailEnd/>
          </a:ln>
        </p:spPr>
        <p:txBody>
          <a:bodyPr/>
          <a:lstStyle/>
          <a:p>
            <a:endParaRPr lang="en-US"/>
          </a:p>
        </p:txBody>
      </p:sp>
      <p:pic>
        <p:nvPicPr>
          <p:cNvPr id="16401" name="Picture 18" descr="Ramgopal Yadav"/>
          <p:cNvPicPr>
            <a:picLocks noChangeAspect="1" noChangeArrowheads="1"/>
          </p:cNvPicPr>
          <p:nvPr/>
        </p:nvPicPr>
        <p:blipFill>
          <a:blip r:embed="rId15"/>
          <a:srcRect/>
          <a:stretch>
            <a:fillRect/>
          </a:stretch>
        </p:blipFill>
        <p:spPr bwMode="auto">
          <a:xfrm>
            <a:off x="3221038" y="3022600"/>
            <a:ext cx="244475" cy="252413"/>
          </a:xfrm>
          <a:prstGeom prst="rect">
            <a:avLst/>
          </a:prstGeom>
          <a:noFill/>
          <a:ln w="9525">
            <a:noFill/>
            <a:miter lim="800000"/>
            <a:headEnd/>
            <a:tailEnd/>
          </a:ln>
        </p:spPr>
      </p:pic>
      <p:pic>
        <p:nvPicPr>
          <p:cNvPr id="16402" name="Picture 19" descr="Cathy Fillare"/>
          <p:cNvPicPr>
            <a:picLocks noChangeAspect="1" noChangeArrowheads="1"/>
          </p:cNvPicPr>
          <p:nvPr/>
        </p:nvPicPr>
        <p:blipFill>
          <a:blip r:embed="rId16"/>
          <a:srcRect/>
          <a:stretch>
            <a:fillRect/>
          </a:stretch>
        </p:blipFill>
        <p:spPr bwMode="auto">
          <a:xfrm>
            <a:off x="917575" y="2162175"/>
            <a:ext cx="242888" cy="254000"/>
          </a:xfrm>
          <a:prstGeom prst="rect">
            <a:avLst/>
          </a:prstGeom>
          <a:noFill/>
          <a:ln w="9525">
            <a:noFill/>
            <a:miter lim="800000"/>
            <a:headEnd/>
            <a:tailEnd/>
          </a:ln>
        </p:spPr>
      </p:pic>
      <p:pic>
        <p:nvPicPr>
          <p:cNvPr id="16403" name="Picture 20" descr="Brittany D. Thompson"/>
          <p:cNvPicPr>
            <a:picLocks noChangeAspect="1" noChangeArrowheads="1"/>
          </p:cNvPicPr>
          <p:nvPr/>
        </p:nvPicPr>
        <p:blipFill>
          <a:blip r:embed="rId17"/>
          <a:srcRect/>
          <a:stretch>
            <a:fillRect/>
          </a:stretch>
        </p:blipFill>
        <p:spPr bwMode="auto">
          <a:xfrm>
            <a:off x="409575" y="2306638"/>
            <a:ext cx="244475" cy="252412"/>
          </a:xfrm>
          <a:prstGeom prst="rect">
            <a:avLst/>
          </a:prstGeom>
          <a:noFill/>
          <a:ln w="9525">
            <a:noFill/>
            <a:miter lim="800000"/>
            <a:headEnd/>
            <a:tailEnd/>
          </a:ln>
        </p:spPr>
      </p:pic>
      <p:sp>
        <p:nvSpPr>
          <p:cNvPr id="16404" name="Line 21"/>
          <p:cNvSpPr>
            <a:spLocks noChangeShapeType="1"/>
          </p:cNvSpPr>
          <p:nvPr/>
        </p:nvSpPr>
        <p:spPr bwMode="auto">
          <a:xfrm flipH="1">
            <a:off x="2528888" y="1411288"/>
            <a:ext cx="185737" cy="942975"/>
          </a:xfrm>
          <a:prstGeom prst="line">
            <a:avLst/>
          </a:prstGeom>
          <a:noFill/>
          <a:ln w="9525">
            <a:solidFill>
              <a:schemeClr val="tx1"/>
            </a:solidFill>
            <a:round/>
            <a:headEnd/>
            <a:tailEnd/>
          </a:ln>
        </p:spPr>
        <p:txBody>
          <a:bodyPr/>
          <a:lstStyle/>
          <a:p>
            <a:endParaRPr lang="en-US"/>
          </a:p>
        </p:txBody>
      </p:sp>
      <p:pic>
        <p:nvPicPr>
          <p:cNvPr id="16405" name="Picture 22" descr="Flag of India"/>
          <p:cNvPicPr>
            <a:picLocks noChangeAspect="1" noChangeArrowheads="1"/>
          </p:cNvPicPr>
          <p:nvPr/>
        </p:nvPicPr>
        <p:blipFill>
          <a:blip r:embed="rId18"/>
          <a:srcRect/>
          <a:stretch>
            <a:fillRect/>
          </a:stretch>
        </p:blipFill>
        <p:spPr bwMode="auto">
          <a:xfrm>
            <a:off x="4783138" y="3429000"/>
            <a:ext cx="215900" cy="144463"/>
          </a:xfrm>
          <a:prstGeom prst="rect">
            <a:avLst/>
          </a:prstGeom>
          <a:noFill/>
          <a:ln w="9525" algn="ctr">
            <a:solidFill>
              <a:schemeClr val="tx1"/>
            </a:solidFill>
            <a:miter lim="800000"/>
            <a:headEnd/>
            <a:tailEnd/>
          </a:ln>
        </p:spPr>
      </p:pic>
      <p:pic>
        <p:nvPicPr>
          <p:cNvPr id="16406" name="Picture 23" descr="Flag of Japan"/>
          <p:cNvPicPr>
            <a:picLocks noChangeAspect="1" noChangeArrowheads="1"/>
          </p:cNvPicPr>
          <p:nvPr/>
        </p:nvPicPr>
        <p:blipFill>
          <a:blip r:embed="rId19"/>
          <a:srcRect/>
          <a:stretch>
            <a:fillRect/>
          </a:stretch>
        </p:blipFill>
        <p:spPr bwMode="auto">
          <a:xfrm>
            <a:off x="4783138" y="2925763"/>
            <a:ext cx="215900" cy="144462"/>
          </a:xfrm>
          <a:prstGeom prst="rect">
            <a:avLst/>
          </a:prstGeom>
          <a:noFill/>
          <a:ln w="9525">
            <a:solidFill>
              <a:schemeClr val="tx1"/>
            </a:solidFill>
            <a:miter lim="800000"/>
            <a:headEnd/>
            <a:tailEnd/>
          </a:ln>
        </p:spPr>
      </p:pic>
      <p:sp>
        <p:nvSpPr>
          <p:cNvPr id="16407" name="Text Box 24"/>
          <p:cNvSpPr txBox="1">
            <a:spLocks noChangeArrowheads="1"/>
          </p:cNvSpPr>
          <p:nvPr/>
        </p:nvSpPr>
        <p:spPr bwMode="auto">
          <a:xfrm>
            <a:off x="238125" y="206375"/>
            <a:ext cx="7038975" cy="396875"/>
          </a:xfrm>
          <a:prstGeom prst="rect">
            <a:avLst/>
          </a:prstGeom>
          <a:noFill/>
          <a:ln w="9525">
            <a:noFill/>
            <a:miter lim="800000"/>
            <a:headEnd/>
            <a:tailEnd/>
          </a:ln>
        </p:spPr>
        <p:txBody>
          <a:bodyPr>
            <a:spAutoFit/>
          </a:bodyPr>
          <a:lstStyle/>
          <a:p>
            <a:endParaRPr lang="en-US" sz="2000"/>
          </a:p>
        </p:txBody>
      </p:sp>
      <p:sp>
        <p:nvSpPr>
          <p:cNvPr id="16408" name="Text Box 25"/>
          <p:cNvSpPr txBox="1">
            <a:spLocks noChangeArrowheads="1"/>
          </p:cNvSpPr>
          <p:nvPr/>
        </p:nvSpPr>
        <p:spPr bwMode="auto">
          <a:xfrm>
            <a:off x="5386388" y="1295400"/>
            <a:ext cx="3703637" cy="2597150"/>
          </a:xfrm>
          <a:prstGeom prst="rect">
            <a:avLst/>
          </a:prstGeom>
          <a:noFill/>
          <a:ln w="9525">
            <a:noFill/>
            <a:miter lim="800000"/>
            <a:headEnd/>
            <a:tailEnd/>
          </a:ln>
        </p:spPr>
        <p:txBody>
          <a:bodyPr>
            <a:spAutoFit/>
          </a:bodyPr>
          <a:lstStyle/>
          <a:p>
            <a:r>
              <a:rPr lang="fr-FR"/>
              <a:t> </a:t>
            </a:r>
            <a:r>
              <a:rPr lang="en-US"/>
              <a:t>Team Composition</a:t>
            </a:r>
            <a:endParaRPr lang="fr-FR"/>
          </a:p>
          <a:p>
            <a:pPr lvl="1">
              <a:buSzPct val="50000"/>
              <a:buFontTx/>
              <a:buChar char="•"/>
            </a:pPr>
            <a:r>
              <a:rPr lang="fr-FR" sz="1600" i="1"/>
              <a:t>15 global </a:t>
            </a:r>
            <a:r>
              <a:rPr lang="en-US" sz="1600" i="1"/>
              <a:t>representatives</a:t>
            </a:r>
          </a:p>
          <a:p>
            <a:pPr lvl="1">
              <a:buSzPct val="50000"/>
              <a:buFontTx/>
              <a:buChar char="•"/>
            </a:pPr>
            <a:r>
              <a:rPr lang="fr-FR" sz="1600" i="1"/>
              <a:t> 10 </a:t>
            </a:r>
            <a:r>
              <a:rPr lang="en-US" sz="1600" i="1"/>
              <a:t>nationalities</a:t>
            </a:r>
          </a:p>
          <a:p>
            <a:pPr lvl="1">
              <a:buSzPct val="50000"/>
              <a:buFontTx/>
              <a:buChar char="•"/>
            </a:pPr>
            <a:r>
              <a:rPr lang="fr-FR" sz="1600" i="1"/>
              <a:t>  5+ unique </a:t>
            </a:r>
            <a:r>
              <a:rPr lang="en-US" sz="1600" i="1"/>
              <a:t>professional</a:t>
            </a:r>
            <a:r>
              <a:rPr lang="fr-FR" sz="1600" i="1"/>
              <a:t> profiles</a:t>
            </a:r>
          </a:p>
          <a:p>
            <a:r>
              <a:rPr lang="fr-FR" sz="1600"/>
              <a:t>  </a:t>
            </a:r>
          </a:p>
          <a:p>
            <a:r>
              <a:rPr lang="fr-FR" sz="1600"/>
              <a:t> </a:t>
            </a:r>
            <a:r>
              <a:rPr lang="fr-FR"/>
              <a:t>Client Partners </a:t>
            </a:r>
          </a:p>
          <a:p>
            <a:pPr lvl="2">
              <a:buFontTx/>
              <a:buChar char="-"/>
            </a:pPr>
            <a:r>
              <a:rPr lang="fr-FR" sz="1600"/>
              <a:t> ALCS </a:t>
            </a:r>
          </a:p>
          <a:p>
            <a:pPr lvl="2">
              <a:buFontTx/>
              <a:buChar char="-"/>
            </a:pPr>
            <a:r>
              <a:rPr lang="fr-FR" sz="1600"/>
              <a:t> CHU Ibn Rochd  </a:t>
            </a:r>
          </a:p>
          <a:p>
            <a:pPr lvl="2">
              <a:buFontTx/>
              <a:buChar char="-"/>
            </a:pPr>
            <a:r>
              <a:rPr lang="fr-FR" sz="1600"/>
              <a:t> OFPPT   </a:t>
            </a:r>
          </a:p>
          <a:p>
            <a:pPr lvl="2">
              <a:buFontTx/>
              <a:buChar char="-"/>
            </a:pPr>
            <a:r>
              <a:rPr lang="fr-FR" sz="1600"/>
              <a:t> </a:t>
            </a:r>
            <a:r>
              <a:rPr lang="en-US" sz="1600"/>
              <a:t>Ministry</a:t>
            </a:r>
            <a:r>
              <a:rPr lang="fr-FR" sz="1600"/>
              <a:t> of </a:t>
            </a:r>
            <a:r>
              <a:rPr lang="en-US" sz="1600"/>
              <a:t>Tourism</a:t>
            </a:r>
          </a:p>
        </p:txBody>
      </p:sp>
      <p:pic>
        <p:nvPicPr>
          <p:cNvPr id="16409" name="Picture 28" descr="ANd9GcSdidn4TQUUs3XHz3OMa1CUqpHjlzNsve58GIoGF7PQBXCIkLZG"/>
          <p:cNvPicPr>
            <a:picLocks noChangeAspect="1" noChangeArrowheads="1"/>
          </p:cNvPicPr>
          <p:nvPr/>
        </p:nvPicPr>
        <p:blipFill>
          <a:blip r:embed="rId20"/>
          <a:srcRect/>
          <a:stretch>
            <a:fillRect/>
          </a:stretch>
        </p:blipFill>
        <p:spPr bwMode="auto">
          <a:xfrm>
            <a:off x="539750" y="4437063"/>
            <a:ext cx="1008063" cy="873125"/>
          </a:xfrm>
          <a:prstGeom prst="rect">
            <a:avLst/>
          </a:prstGeom>
          <a:noFill/>
          <a:ln w="9525">
            <a:noFill/>
            <a:miter lim="800000"/>
            <a:headEnd/>
            <a:tailEnd/>
          </a:ln>
        </p:spPr>
      </p:pic>
      <p:pic>
        <p:nvPicPr>
          <p:cNvPr id="16410" name="Picture 29" descr="ANd9GcQATPMSx9hOy6Hal3F3MTebmCT3b6p3W_xanMT97KgQDy3N7hdEYw"/>
          <p:cNvPicPr>
            <a:picLocks noChangeAspect="1" noChangeArrowheads="1"/>
          </p:cNvPicPr>
          <p:nvPr/>
        </p:nvPicPr>
        <p:blipFill>
          <a:blip r:embed="rId21"/>
          <a:srcRect/>
          <a:stretch>
            <a:fillRect/>
          </a:stretch>
        </p:blipFill>
        <p:spPr bwMode="auto">
          <a:xfrm>
            <a:off x="7740650" y="4448175"/>
            <a:ext cx="935038" cy="795338"/>
          </a:xfrm>
          <a:prstGeom prst="rect">
            <a:avLst/>
          </a:prstGeom>
          <a:noFill/>
          <a:ln w="9525">
            <a:noFill/>
            <a:miter lim="800000"/>
            <a:headEnd/>
            <a:tailEnd/>
          </a:ln>
        </p:spPr>
      </p:pic>
      <p:sp>
        <p:nvSpPr>
          <p:cNvPr id="16411" name="Text Box 30"/>
          <p:cNvSpPr txBox="1">
            <a:spLocks noChangeArrowheads="1"/>
          </p:cNvSpPr>
          <p:nvPr/>
        </p:nvSpPr>
        <p:spPr bwMode="auto">
          <a:xfrm>
            <a:off x="2627313" y="4437063"/>
            <a:ext cx="184150" cy="366712"/>
          </a:xfrm>
          <a:prstGeom prst="rect">
            <a:avLst/>
          </a:prstGeom>
          <a:noFill/>
          <a:ln w="9525">
            <a:noFill/>
            <a:miter lim="800000"/>
            <a:headEnd/>
            <a:tailEnd/>
          </a:ln>
        </p:spPr>
        <p:txBody>
          <a:bodyPr wrap="none">
            <a:spAutoFit/>
          </a:bodyPr>
          <a:lstStyle/>
          <a:p>
            <a:endParaRPr lang="en-US"/>
          </a:p>
        </p:txBody>
      </p:sp>
      <p:sp>
        <p:nvSpPr>
          <p:cNvPr id="16412" name="Rectangle 31"/>
          <p:cNvSpPr>
            <a:spLocks noChangeArrowheads="1"/>
          </p:cNvSpPr>
          <p:nvPr/>
        </p:nvSpPr>
        <p:spPr bwMode="auto">
          <a:xfrm>
            <a:off x="2438400" y="4300538"/>
            <a:ext cx="4535488" cy="942975"/>
          </a:xfrm>
          <a:prstGeom prst="rect">
            <a:avLst/>
          </a:prstGeom>
          <a:noFill/>
          <a:ln w="9525">
            <a:noFill/>
            <a:miter lim="800000"/>
            <a:headEnd/>
            <a:tailEnd/>
          </a:ln>
        </p:spPr>
        <p:txBody>
          <a:bodyPr>
            <a:spAutoFit/>
          </a:bodyPr>
          <a:lstStyle/>
          <a:p>
            <a:r>
              <a:rPr lang="fr-FR" sz="1400"/>
              <a:t>Gerry Broennimann, IT Development </a:t>
            </a:r>
            <a:r>
              <a:rPr lang="en-US" sz="1400"/>
              <a:t>Specialist</a:t>
            </a:r>
            <a:r>
              <a:rPr lang="fr-FR" sz="1400"/>
              <a:t> </a:t>
            </a:r>
          </a:p>
          <a:p>
            <a:r>
              <a:rPr lang="fr-FR" sz="1400"/>
              <a:t>Catherine Fillare, Education &amp; Knowledge Leader</a:t>
            </a:r>
          </a:p>
          <a:p>
            <a:r>
              <a:rPr lang="fr-FR" sz="1400"/>
              <a:t>Patrick Joussen, Project Manager, Manager</a:t>
            </a:r>
          </a:p>
          <a:p>
            <a:r>
              <a:rPr lang="fr-FR" sz="1400"/>
              <a:t>Ramgopal Yadav, SAP Technical Consultant</a:t>
            </a:r>
          </a:p>
        </p:txBody>
      </p:sp>
      <p:pic>
        <p:nvPicPr>
          <p:cNvPr id="16413" name="Picture 32" descr="ALCS+8"/>
          <p:cNvPicPr>
            <a:picLocks noChangeAspect="1" noChangeArrowheads="1"/>
          </p:cNvPicPr>
          <p:nvPr/>
        </p:nvPicPr>
        <p:blipFill>
          <a:blip r:embed="rId22"/>
          <a:srcRect/>
          <a:stretch>
            <a:fillRect/>
          </a:stretch>
        </p:blipFill>
        <p:spPr bwMode="auto">
          <a:xfrm>
            <a:off x="1042988" y="5445125"/>
            <a:ext cx="1671637" cy="1247775"/>
          </a:xfrm>
          <a:prstGeom prst="rect">
            <a:avLst/>
          </a:prstGeom>
          <a:noFill/>
          <a:ln w="9525">
            <a:noFill/>
            <a:miter lim="800000"/>
            <a:headEnd/>
            <a:tailEnd/>
          </a:ln>
        </p:spPr>
      </p:pic>
      <p:pic>
        <p:nvPicPr>
          <p:cNvPr id="16414" name="Picture 33" descr="http://2.bp.blogspot.com/-srcMGlK9aTA/U17RLUgnhAI/AAAAAAAAAeA/cXRlUiWvsZs/s1600/1_ALCS.jpg"/>
          <p:cNvPicPr>
            <a:picLocks noChangeAspect="1" noChangeArrowheads="1"/>
          </p:cNvPicPr>
          <p:nvPr/>
        </p:nvPicPr>
        <p:blipFill>
          <a:blip r:embed="rId23"/>
          <a:srcRect/>
          <a:stretch>
            <a:fillRect/>
          </a:stretch>
        </p:blipFill>
        <p:spPr bwMode="auto">
          <a:xfrm>
            <a:off x="2865438" y="5462588"/>
            <a:ext cx="1778000" cy="1243012"/>
          </a:xfrm>
          <a:prstGeom prst="rect">
            <a:avLst/>
          </a:prstGeom>
          <a:noFill/>
          <a:ln w="9525">
            <a:noFill/>
            <a:miter lim="800000"/>
            <a:headEnd/>
            <a:tailEnd/>
          </a:ln>
        </p:spPr>
      </p:pic>
      <p:pic>
        <p:nvPicPr>
          <p:cNvPr id="16415" name="Picture 34" descr="IMG_2091%5B1%5D"/>
          <p:cNvPicPr>
            <a:picLocks noChangeAspect="1" noChangeArrowheads="1"/>
          </p:cNvPicPr>
          <p:nvPr/>
        </p:nvPicPr>
        <p:blipFill>
          <a:blip r:embed="rId24"/>
          <a:srcRect/>
          <a:stretch>
            <a:fillRect/>
          </a:stretch>
        </p:blipFill>
        <p:spPr bwMode="auto">
          <a:xfrm>
            <a:off x="4787900" y="5462588"/>
            <a:ext cx="1655763" cy="1243012"/>
          </a:xfrm>
          <a:prstGeom prst="rect">
            <a:avLst/>
          </a:prstGeom>
          <a:noFill/>
          <a:ln w="9525">
            <a:noFill/>
            <a:miter lim="800000"/>
            <a:headEnd/>
            <a:tailEnd/>
          </a:ln>
        </p:spPr>
      </p:pic>
      <p:pic>
        <p:nvPicPr>
          <p:cNvPr id="16416" name="Picture 35" descr="IMG_2084%5B1%5D"/>
          <p:cNvPicPr>
            <a:picLocks noChangeAspect="1" noChangeArrowheads="1"/>
          </p:cNvPicPr>
          <p:nvPr/>
        </p:nvPicPr>
        <p:blipFill>
          <a:blip r:embed="rId25"/>
          <a:srcRect/>
          <a:stretch>
            <a:fillRect/>
          </a:stretch>
        </p:blipFill>
        <p:spPr bwMode="auto">
          <a:xfrm>
            <a:off x="6659563" y="5373688"/>
            <a:ext cx="1006475" cy="1341437"/>
          </a:xfrm>
          <a:prstGeom prst="rect">
            <a:avLst/>
          </a:prstGeom>
          <a:noFill/>
          <a:ln w="9525">
            <a:noFill/>
            <a:miter lim="800000"/>
            <a:headEnd/>
            <a:tailEnd/>
          </a:ln>
        </p:spPr>
      </p:pic>
      <p:pic>
        <p:nvPicPr>
          <p:cNvPr id="16417" name="Picture 36" descr="Flag of Switzerland"/>
          <p:cNvPicPr>
            <a:picLocks noChangeAspect="1" noChangeArrowheads="1"/>
          </p:cNvPicPr>
          <p:nvPr/>
        </p:nvPicPr>
        <p:blipFill>
          <a:blip r:embed="rId26"/>
          <a:srcRect/>
          <a:stretch>
            <a:fillRect/>
          </a:stretch>
        </p:blipFill>
        <p:spPr bwMode="auto">
          <a:xfrm>
            <a:off x="2146300" y="4406900"/>
            <a:ext cx="152400" cy="152400"/>
          </a:xfrm>
          <a:prstGeom prst="rect">
            <a:avLst/>
          </a:prstGeom>
          <a:noFill/>
          <a:ln w="9525" algn="ctr">
            <a:solidFill>
              <a:schemeClr val="tx1"/>
            </a:solidFill>
            <a:miter lim="800000"/>
            <a:headEnd/>
            <a:tailEnd/>
          </a:ln>
        </p:spPr>
      </p:pic>
      <p:pic>
        <p:nvPicPr>
          <p:cNvPr id="16418" name="Picture 37" descr="Flag of France"/>
          <p:cNvPicPr>
            <a:picLocks noChangeAspect="1" noChangeArrowheads="1"/>
          </p:cNvPicPr>
          <p:nvPr/>
        </p:nvPicPr>
        <p:blipFill>
          <a:blip r:embed="rId27"/>
          <a:srcRect/>
          <a:stretch>
            <a:fillRect/>
          </a:stretch>
        </p:blipFill>
        <p:spPr bwMode="auto">
          <a:xfrm>
            <a:off x="2124075" y="4868863"/>
            <a:ext cx="215900" cy="144462"/>
          </a:xfrm>
          <a:prstGeom prst="rect">
            <a:avLst/>
          </a:prstGeom>
          <a:noFill/>
          <a:ln w="9525">
            <a:solidFill>
              <a:schemeClr val="tx1"/>
            </a:solidFill>
            <a:miter lim="800000"/>
            <a:headEnd/>
            <a:tailEnd/>
          </a:ln>
        </p:spPr>
      </p:pic>
      <p:pic>
        <p:nvPicPr>
          <p:cNvPr id="16419" name="Picture 38" descr="Flag of India"/>
          <p:cNvPicPr>
            <a:picLocks noChangeAspect="1" noChangeArrowheads="1"/>
          </p:cNvPicPr>
          <p:nvPr/>
        </p:nvPicPr>
        <p:blipFill>
          <a:blip r:embed="rId18"/>
          <a:srcRect/>
          <a:stretch>
            <a:fillRect/>
          </a:stretch>
        </p:blipFill>
        <p:spPr bwMode="auto">
          <a:xfrm>
            <a:off x="2124075" y="5084763"/>
            <a:ext cx="215900" cy="144462"/>
          </a:xfrm>
          <a:prstGeom prst="rect">
            <a:avLst/>
          </a:prstGeom>
          <a:noFill/>
          <a:ln w="9525" algn="ctr">
            <a:solidFill>
              <a:schemeClr val="tx1"/>
            </a:solidFill>
            <a:miter lim="800000"/>
            <a:headEnd/>
            <a:tailEnd/>
          </a:ln>
        </p:spPr>
      </p:pic>
      <p:pic>
        <p:nvPicPr>
          <p:cNvPr id="16420" name="Picture 39" descr="Flag of United States"/>
          <p:cNvPicPr>
            <a:picLocks noChangeAspect="1" noChangeArrowheads="1"/>
          </p:cNvPicPr>
          <p:nvPr/>
        </p:nvPicPr>
        <p:blipFill>
          <a:blip r:embed="rId28"/>
          <a:srcRect/>
          <a:stretch>
            <a:fillRect/>
          </a:stretch>
        </p:blipFill>
        <p:spPr bwMode="auto">
          <a:xfrm>
            <a:off x="2124075" y="4652963"/>
            <a:ext cx="215900" cy="114300"/>
          </a:xfrm>
          <a:prstGeom prst="rect">
            <a:avLst/>
          </a:prstGeom>
          <a:noFill/>
          <a:ln w="9525" algn="ctr">
            <a:solidFill>
              <a:schemeClr val="tx1"/>
            </a:solidFill>
            <a:miter lim="800000"/>
            <a:headEnd/>
            <a:tailEnd/>
          </a:ln>
        </p:spPr>
      </p:pic>
      <p:pic>
        <p:nvPicPr>
          <p:cNvPr id="16421" name="Picture 40" descr="Flag of Morocco"/>
          <p:cNvPicPr>
            <a:picLocks noChangeAspect="1" noChangeArrowheads="1"/>
          </p:cNvPicPr>
          <p:nvPr/>
        </p:nvPicPr>
        <p:blipFill>
          <a:blip r:embed="rId29"/>
          <a:srcRect/>
          <a:stretch>
            <a:fillRect/>
          </a:stretch>
        </p:blipFill>
        <p:spPr bwMode="auto">
          <a:xfrm>
            <a:off x="5537200" y="3275013"/>
            <a:ext cx="720725" cy="481012"/>
          </a:xfrm>
          <a:prstGeom prst="rect">
            <a:avLst/>
          </a:prstGeom>
          <a:noFill/>
          <a:ln w="9525">
            <a:noFill/>
            <a:miter lim="800000"/>
            <a:headEnd/>
            <a:tailEnd/>
          </a:ln>
        </p:spPr>
      </p:pic>
      <p:sp>
        <p:nvSpPr>
          <p:cNvPr id="16422" name="AutoShape 41" descr="9k="/>
          <p:cNvSpPr>
            <a:spLocks noChangeAspect="1" noChangeArrowheads="1"/>
          </p:cNvSpPr>
          <p:nvPr/>
        </p:nvSpPr>
        <p:spPr bwMode="auto">
          <a:xfrm>
            <a:off x="3929063" y="3000375"/>
            <a:ext cx="1285875" cy="857250"/>
          </a:xfrm>
          <a:prstGeom prst="rect">
            <a:avLst/>
          </a:prstGeom>
          <a:noFill/>
          <a:ln w="9525">
            <a:noFill/>
            <a:miter lim="800000"/>
            <a:headEnd/>
            <a:tailEnd/>
          </a:ln>
        </p:spPr>
        <p:txBody>
          <a:bodyPr/>
          <a:lstStyle/>
          <a:p>
            <a:endParaRPr lang="en-US"/>
          </a:p>
        </p:txBody>
      </p:sp>
      <p:sp>
        <p:nvSpPr>
          <p:cNvPr id="16423" name="AutoShape 42" descr="9k="/>
          <p:cNvSpPr>
            <a:spLocks noChangeAspect="1" noChangeArrowheads="1"/>
          </p:cNvSpPr>
          <p:nvPr/>
        </p:nvSpPr>
        <p:spPr bwMode="auto">
          <a:xfrm>
            <a:off x="3929063" y="3000375"/>
            <a:ext cx="1285875" cy="857250"/>
          </a:xfrm>
          <a:prstGeom prst="rect">
            <a:avLst/>
          </a:prstGeom>
          <a:noFill/>
          <a:ln w="9525">
            <a:noFill/>
            <a:miter lim="800000"/>
            <a:headEnd/>
            <a:tailEnd/>
          </a:ln>
        </p:spPr>
        <p:txBody>
          <a:bodyPr/>
          <a:lstStyle/>
          <a:p>
            <a:endParaRPr lang="en-US"/>
          </a:p>
        </p:txBody>
      </p:sp>
      <p:sp>
        <p:nvSpPr>
          <p:cNvPr id="16424" name="AutoShape 43" descr="9k="/>
          <p:cNvSpPr>
            <a:spLocks noChangeAspect="1" noChangeArrowheads="1"/>
          </p:cNvSpPr>
          <p:nvPr/>
        </p:nvSpPr>
        <p:spPr bwMode="auto">
          <a:xfrm>
            <a:off x="3924300" y="2997200"/>
            <a:ext cx="1285875" cy="857250"/>
          </a:xfrm>
          <a:prstGeom prst="rect">
            <a:avLst/>
          </a:prstGeom>
          <a:noFill/>
          <a:ln w="9525">
            <a:noFill/>
            <a:miter lim="800000"/>
            <a:headEnd/>
            <a:tailEnd/>
          </a:ln>
        </p:spPr>
        <p:txBody>
          <a:bodyPr/>
          <a:lstStyle/>
          <a:p>
            <a:endParaRPr lang="en-US"/>
          </a:p>
        </p:txBody>
      </p:sp>
      <p:pic>
        <p:nvPicPr>
          <p:cNvPr id="16425" name="Picture 44"/>
          <p:cNvPicPr>
            <a:picLocks noChangeAspect="1" noChangeArrowheads="1"/>
          </p:cNvPicPr>
          <p:nvPr/>
        </p:nvPicPr>
        <p:blipFill>
          <a:blip r:embed="rId30"/>
          <a:srcRect/>
          <a:stretch>
            <a:fillRect/>
          </a:stretch>
        </p:blipFill>
        <p:spPr bwMode="auto">
          <a:xfrm>
            <a:off x="4787900" y="3716338"/>
            <a:ext cx="215900" cy="144462"/>
          </a:xfrm>
          <a:prstGeom prst="rect">
            <a:avLst/>
          </a:prstGeom>
          <a:noFill/>
          <a:ln w="9525">
            <a:noFill/>
            <a:miter lim="800000"/>
            <a:headEnd/>
            <a:tailEnd/>
          </a:ln>
        </p:spPr>
      </p:pic>
      <p:pic>
        <p:nvPicPr>
          <p:cNvPr id="16426" name="Picture 45" descr="Flag of United States"/>
          <p:cNvPicPr>
            <a:picLocks noChangeAspect="1" noChangeArrowheads="1"/>
          </p:cNvPicPr>
          <p:nvPr/>
        </p:nvPicPr>
        <p:blipFill>
          <a:blip r:embed="rId28"/>
          <a:srcRect/>
          <a:stretch>
            <a:fillRect/>
          </a:stretch>
        </p:blipFill>
        <p:spPr bwMode="auto">
          <a:xfrm>
            <a:off x="4783138" y="3236913"/>
            <a:ext cx="215900" cy="114300"/>
          </a:xfrm>
          <a:prstGeom prst="rect">
            <a:avLst/>
          </a:prstGeom>
          <a:noFill/>
          <a:ln w="9525" algn="ctr">
            <a:solidFill>
              <a:schemeClr val="tx1"/>
            </a:solidFill>
            <a:miter lim="800000"/>
            <a:headEnd/>
            <a:tailEnd/>
          </a:ln>
        </p:spPr>
      </p:pic>
      <p:pic>
        <p:nvPicPr>
          <p:cNvPr id="16427" name="Picture 46" descr="Flag of Switzerland"/>
          <p:cNvPicPr>
            <a:picLocks noChangeAspect="1" noChangeArrowheads="1"/>
          </p:cNvPicPr>
          <p:nvPr/>
        </p:nvPicPr>
        <p:blipFill>
          <a:blip r:embed="rId26"/>
          <a:srcRect/>
          <a:stretch>
            <a:fillRect/>
          </a:stretch>
        </p:blipFill>
        <p:spPr bwMode="auto">
          <a:xfrm>
            <a:off x="4783138" y="2659063"/>
            <a:ext cx="152400" cy="152400"/>
          </a:xfrm>
          <a:prstGeom prst="rect">
            <a:avLst/>
          </a:prstGeom>
          <a:noFill/>
          <a:ln w="9525" algn="ctr">
            <a:solidFill>
              <a:schemeClr val="tx1"/>
            </a:solidFill>
            <a:miter lim="800000"/>
            <a:headEnd/>
            <a:tailEnd/>
          </a:ln>
        </p:spPr>
      </p:pic>
      <p:pic>
        <p:nvPicPr>
          <p:cNvPr id="16428" name="Picture 47" descr="Flag of Canada"/>
          <p:cNvPicPr>
            <a:picLocks noChangeAspect="1" noChangeArrowheads="1"/>
          </p:cNvPicPr>
          <p:nvPr/>
        </p:nvPicPr>
        <p:blipFill>
          <a:blip r:embed="rId31"/>
          <a:srcRect/>
          <a:stretch>
            <a:fillRect/>
          </a:stretch>
        </p:blipFill>
        <p:spPr bwMode="auto">
          <a:xfrm>
            <a:off x="4783138" y="2425700"/>
            <a:ext cx="215900" cy="107950"/>
          </a:xfrm>
          <a:prstGeom prst="rect">
            <a:avLst/>
          </a:prstGeom>
          <a:noFill/>
          <a:ln w="9525">
            <a:solidFill>
              <a:schemeClr val="tx1"/>
            </a:solidFill>
            <a:miter lim="800000"/>
            <a:headEnd/>
            <a:tailEnd/>
          </a:ln>
        </p:spPr>
      </p:pic>
      <p:pic>
        <p:nvPicPr>
          <p:cNvPr id="16429" name="Picture 48" descr="Flag of Israel"/>
          <p:cNvPicPr>
            <a:picLocks noChangeAspect="1" noChangeArrowheads="1"/>
          </p:cNvPicPr>
          <p:nvPr/>
        </p:nvPicPr>
        <p:blipFill>
          <a:blip r:embed="rId32"/>
          <a:srcRect/>
          <a:stretch>
            <a:fillRect/>
          </a:stretch>
        </p:blipFill>
        <p:spPr bwMode="auto">
          <a:xfrm>
            <a:off x="4783138" y="1833563"/>
            <a:ext cx="220662" cy="160337"/>
          </a:xfrm>
          <a:prstGeom prst="rect">
            <a:avLst/>
          </a:prstGeom>
          <a:noFill/>
          <a:ln w="9525">
            <a:solidFill>
              <a:schemeClr val="tx1"/>
            </a:solidFill>
            <a:miter lim="800000"/>
            <a:headEnd/>
            <a:tailEnd/>
          </a:ln>
        </p:spPr>
      </p:pic>
      <p:pic>
        <p:nvPicPr>
          <p:cNvPr id="16430" name="Picture 49" descr="Flag of Brazil"/>
          <p:cNvPicPr>
            <a:picLocks noChangeAspect="1" noChangeArrowheads="1"/>
          </p:cNvPicPr>
          <p:nvPr/>
        </p:nvPicPr>
        <p:blipFill>
          <a:blip r:embed="rId33"/>
          <a:srcRect/>
          <a:stretch>
            <a:fillRect/>
          </a:stretch>
        </p:blipFill>
        <p:spPr bwMode="auto">
          <a:xfrm>
            <a:off x="4783138" y="2093913"/>
            <a:ext cx="215900" cy="150812"/>
          </a:xfrm>
          <a:prstGeom prst="rect">
            <a:avLst/>
          </a:prstGeom>
          <a:noFill/>
          <a:ln w="9525" algn="ctr">
            <a:solidFill>
              <a:schemeClr val="tx1"/>
            </a:solidFill>
            <a:miter lim="800000"/>
            <a:headEnd/>
            <a:tailEnd/>
          </a:ln>
        </p:spPr>
      </p:pic>
      <p:pic>
        <p:nvPicPr>
          <p:cNvPr id="16431" name="Picture 50" descr="Flag of France"/>
          <p:cNvPicPr>
            <a:picLocks noChangeAspect="1" noChangeArrowheads="1"/>
          </p:cNvPicPr>
          <p:nvPr/>
        </p:nvPicPr>
        <p:blipFill>
          <a:blip r:embed="rId27"/>
          <a:srcRect/>
          <a:stretch>
            <a:fillRect/>
          </a:stretch>
        </p:blipFill>
        <p:spPr bwMode="auto">
          <a:xfrm>
            <a:off x="4778375" y="1554163"/>
            <a:ext cx="215900" cy="144462"/>
          </a:xfrm>
          <a:prstGeom prst="rect">
            <a:avLst/>
          </a:prstGeom>
          <a:noFill/>
          <a:ln w="9525">
            <a:solidFill>
              <a:schemeClr val="tx1"/>
            </a:solidFill>
            <a:miter lim="800000"/>
            <a:headEnd/>
            <a:tailEnd/>
          </a:ln>
        </p:spPr>
      </p:pic>
      <p:pic>
        <p:nvPicPr>
          <p:cNvPr id="16432" name="Picture 51" descr="Flag of Slovakia"/>
          <p:cNvPicPr>
            <a:picLocks noChangeAspect="1" noChangeArrowheads="1"/>
          </p:cNvPicPr>
          <p:nvPr/>
        </p:nvPicPr>
        <p:blipFill>
          <a:blip r:embed="rId34"/>
          <a:srcRect/>
          <a:stretch>
            <a:fillRect/>
          </a:stretch>
        </p:blipFill>
        <p:spPr bwMode="auto">
          <a:xfrm>
            <a:off x="4778375" y="1266825"/>
            <a:ext cx="215900" cy="144463"/>
          </a:xfrm>
          <a:prstGeom prst="rect">
            <a:avLst/>
          </a:prstGeom>
          <a:noFill/>
          <a:ln w="9525">
            <a:solidFill>
              <a:schemeClr val="tx1"/>
            </a:solidFill>
            <a:miter lim="800000"/>
            <a:headEnd/>
            <a:tailEnd/>
          </a:ln>
        </p:spPr>
      </p:pic>
      <p:sp>
        <p:nvSpPr>
          <p:cNvPr id="16433" name="Rectangle 53"/>
          <p:cNvSpPr>
            <a:spLocks noChangeArrowheads="1"/>
          </p:cNvSpPr>
          <p:nvPr/>
        </p:nvSpPr>
        <p:spPr bwMode="auto">
          <a:xfrm>
            <a:off x="238125" y="603250"/>
            <a:ext cx="5010150" cy="366713"/>
          </a:xfrm>
          <a:prstGeom prst="rect">
            <a:avLst/>
          </a:prstGeom>
          <a:noFill/>
          <a:ln w="9525">
            <a:noFill/>
            <a:miter lim="800000"/>
            <a:headEnd/>
            <a:tailEnd/>
          </a:ln>
        </p:spPr>
        <p:txBody>
          <a:bodyPr wrap="none">
            <a:spAutoFit/>
          </a:bodyPr>
          <a:lstStyle/>
          <a:p>
            <a:r>
              <a:rPr lang="en-US">
                <a:solidFill>
                  <a:srgbClr val="000000"/>
                </a:solidFill>
              </a:rPr>
              <a:t>IBM Corporate Service Corps Morocco 5 Team </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2"/>
          <p:cNvSpPr>
            <a:spLocks noGrp="1" noChangeArrowheads="1"/>
          </p:cNvSpPr>
          <p:nvPr>
            <p:ph type="title" idx="4294967295"/>
          </p:nvPr>
        </p:nvSpPr>
        <p:spPr/>
        <p:txBody>
          <a:bodyPr/>
          <a:lstStyle/>
          <a:p>
            <a:r>
              <a:rPr lang="en-US" smtClean="0"/>
              <a:t>Our Understanding of ALCS Priorities </a:t>
            </a:r>
          </a:p>
        </p:txBody>
      </p:sp>
      <p:sp>
        <p:nvSpPr>
          <p:cNvPr id="17410" name="Rectangle 3"/>
          <p:cNvSpPr>
            <a:spLocks noGrp="1" noChangeArrowheads="1"/>
          </p:cNvSpPr>
          <p:nvPr>
            <p:ph type="body" idx="4294967295"/>
          </p:nvPr>
        </p:nvSpPr>
        <p:spPr/>
        <p:txBody>
          <a:bodyPr/>
          <a:lstStyle/>
          <a:p>
            <a:pPr eaLnBrk="1" hangingPunct="1">
              <a:spcBef>
                <a:spcPct val="0"/>
              </a:spcBef>
              <a:buClrTx/>
              <a:buFontTx/>
              <a:buNone/>
            </a:pPr>
            <a:r>
              <a:rPr lang="en-US" sz="1800" smtClean="0">
                <a:solidFill>
                  <a:srgbClr val="000000"/>
                </a:solidFill>
              </a:rPr>
              <a:t>ALCS has clearly defined priorities for the next several years:</a:t>
            </a:r>
          </a:p>
          <a:p>
            <a:pPr eaLnBrk="1" hangingPunct="1">
              <a:spcBef>
                <a:spcPct val="0"/>
              </a:spcBef>
              <a:buClrTx/>
              <a:buFontTx/>
              <a:buNone/>
            </a:pPr>
            <a:endParaRPr lang="en-US" sz="1800" smtClean="0">
              <a:solidFill>
                <a:srgbClr val="000000"/>
              </a:solidFill>
            </a:endParaRPr>
          </a:p>
          <a:p>
            <a:r>
              <a:rPr lang="en-US" sz="1600" smtClean="0"/>
              <a:t>Better knowledge of at risk populations by tracking demographics</a:t>
            </a:r>
          </a:p>
          <a:p>
            <a:r>
              <a:rPr lang="en-US" sz="1600" smtClean="0"/>
              <a:t>Prevention including access to treatment in early stages </a:t>
            </a:r>
          </a:p>
          <a:p>
            <a:r>
              <a:rPr lang="en-US" sz="1600" smtClean="0"/>
              <a:t>Consistent application of national program objectives at regional levels</a:t>
            </a:r>
          </a:p>
          <a:p>
            <a:r>
              <a:rPr lang="en-US" sz="1600" smtClean="0"/>
              <a:t>Optimization of financial and personnel resources</a:t>
            </a:r>
          </a:p>
          <a:p>
            <a:r>
              <a:rPr lang="en-US" sz="1600" smtClean="0"/>
              <a:t>Financial transparency and quality to trusted business partners </a:t>
            </a:r>
          </a:p>
          <a:p>
            <a:r>
              <a:rPr lang="en-US" sz="1600" smtClean="0"/>
              <a:t>Dynamic volunteer program</a:t>
            </a:r>
          </a:p>
          <a:p>
            <a:r>
              <a:rPr lang="en-US" sz="1600" smtClean="0"/>
              <a:t>Coordination and collaboration with like minded institutions</a:t>
            </a:r>
          </a:p>
          <a:p>
            <a:r>
              <a:rPr lang="en-US" sz="1600" smtClean="0"/>
              <a:t>Capabilities for driving international, national and regional mission and values</a:t>
            </a:r>
          </a:p>
          <a:p>
            <a:endParaRPr lang="en-US" sz="1600" smtClean="0"/>
          </a:p>
          <a:p>
            <a:pPr algn="ctr">
              <a:buFont typeface="Wingdings" pitchFamily="2" charset="2"/>
              <a:buNone/>
            </a:pPr>
            <a:r>
              <a:rPr lang="en-US" sz="1800" b="1" i="1" smtClean="0"/>
              <a:t>The IBM CSC team is committed to enabling these activities by providing</a:t>
            </a:r>
            <a:r>
              <a:rPr lang="en-US" sz="1800" b="1" i="1" smtClean="0">
                <a:solidFill>
                  <a:srgbClr val="7889FB"/>
                </a:solidFill>
              </a:rPr>
              <a:t> strategic advisory support </a:t>
            </a:r>
            <a:r>
              <a:rPr lang="en-US" sz="1800" b="1" i="1" smtClean="0"/>
              <a:t>and recommendations for</a:t>
            </a:r>
            <a:r>
              <a:rPr lang="en-US" sz="1800" b="1" i="1" smtClean="0">
                <a:solidFill>
                  <a:srgbClr val="7889FB"/>
                </a:solidFill>
              </a:rPr>
              <a:t> improving operational business practices and IT capabilities</a:t>
            </a:r>
            <a:endParaRPr lang="en-US" sz="1800" b="1" i="1" smtClean="0">
              <a:solidFill>
                <a:srgbClr val="000080"/>
              </a:solidFill>
            </a:endParaRPr>
          </a:p>
          <a:p>
            <a:pPr eaLnBrk="1" hangingPunct="1">
              <a:spcBef>
                <a:spcPct val="0"/>
              </a:spcBef>
              <a:buClrTx/>
              <a:buFontTx/>
              <a:buNone/>
            </a:pPr>
            <a:endParaRPr lang="en-US" sz="1800" i="1" smtClean="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Title 18"/>
          <p:cNvSpPr>
            <a:spLocks noGrp="1"/>
          </p:cNvSpPr>
          <p:nvPr>
            <p:ph type="title" idx="4294967295"/>
          </p:nvPr>
        </p:nvSpPr>
        <p:spPr/>
        <p:txBody>
          <a:bodyPr/>
          <a:lstStyle/>
          <a:p>
            <a:pPr eaLnBrk="1" hangingPunct="1"/>
            <a:r>
              <a:rPr lang="en-US" smtClean="0"/>
              <a:t>Executive Summary</a:t>
            </a:r>
          </a:p>
        </p:txBody>
      </p:sp>
      <p:sp>
        <p:nvSpPr>
          <p:cNvPr id="25602" name="Slide Number Placeholder 1"/>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05928AD3-4253-465C-A67B-BC764F9EAC1C}" type="slidenum">
              <a:rPr lang="en-US" sz="800"/>
              <a:pPr/>
              <a:t>4</a:t>
            </a:fld>
            <a:endParaRPr lang="en-US" sz="800"/>
          </a:p>
        </p:txBody>
      </p:sp>
      <p:sp>
        <p:nvSpPr>
          <p:cNvPr id="25603" name="Text Box 3"/>
          <p:cNvSpPr txBox="1">
            <a:spLocks noChangeArrowheads="1"/>
          </p:cNvSpPr>
          <p:nvPr/>
        </p:nvSpPr>
        <p:spPr bwMode="auto">
          <a:xfrm>
            <a:off x="228600" y="1249363"/>
            <a:ext cx="8686800" cy="517525"/>
          </a:xfrm>
          <a:prstGeom prst="rect">
            <a:avLst/>
          </a:prstGeom>
          <a:noFill/>
          <a:ln w="9525">
            <a:solidFill>
              <a:schemeClr val="accent1"/>
            </a:solidFill>
            <a:miter lim="800000"/>
            <a:headEnd/>
            <a:tailEnd/>
          </a:ln>
        </p:spPr>
        <p:txBody>
          <a:bodyPr>
            <a:spAutoFit/>
          </a:bodyPr>
          <a:lstStyle/>
          <a:p>
            <a:pPr algn="ctr">
              <a:spcBef>
                <a:spcPct val="20000"/>
              </a:spcBef>
              <a:buClr>
                <a:schemeClr val="tx1"/>
              </a:buClr>
              <a:buFont typeface="Wingdings" pitchFamily="2" charset="2"/>
              <a:buNone/>
            </a:pPr>
            <a:endParaRPr lang="en-US" sz="800"/>
          </a:p>
          <a:p>
            <a:pPr algn="ctr">
              <a:spcBef>
                <a:spcPct val="20000"/>
              </a:spcBef>
              <a:buClr>
                <a:schemeClr val="tx1"/>
              </a:buClr>
              <a:buFont typeface="Wingdings" pitchFamily="2" charset="2"/>
              <a:buNone/>
            </a:pPr>
            <a:r>
              <a:rPr lang="en-US" sz="1600"/>
              <a:t>Develop strategic IT recommendations to achieve operational efficiency and sustainability </a:t>
            </a:r>
          </a:p>
        </p:txBody>
      </p:sp>
      <p:sp>
        <p:nvSpPr>
          <p:cNvPr id="25604" name="Rectangle 4"/>
          <p:cNvSpPr>
            <a:spLocks noChangeArrowheads="1"/>
          </p:cNvSpPr>
          <p:nvPr/>
        </p:nvSpPr>
        <p:spPr bwMode="auto">
          <a:xfrm>
            <a:off x="3810000" y="1065213"/>
            <a:ext cx="1295400" cy="336550"/>
          </a:xfrm>
          <a:prstGeom prst="rect">
            <a:avLst/>
          </a:prstGeom>
          <a:solidFill>
            <a:schemeClr val="bg1"/>
          </a:solidFill>
          <a:ln w="9525">
            <a:noFill/>
            <a:miter lim="800000"/>
            <a:headEnd/>
            <a:tailEnd/>
          </a:ln>
        </p:spPr>
        <p:txBody>
          <a:bodyPr lIns="91436" tIns="45716" rIns="91436" bIns="45716" anchor="ctr">
            <a:spAutoFit/>
          </a:bodyPr>
          <a:lstStyle/>
          <a:p>
            <a:pPr algn="ctr"/>
            <a:r>
              <a:rPr lang="de-DE" sz="1600" b="1">
                <a:solidFill>
                  <a:schemeClr val="accent1"/>
                </a:solidFill>
              </a:rPr>
              <a:t>Our Goal</a:t>
            </a:r>
          </a:p>
        </p:txBody>
      </p:sp>
      <p:sp>
        <p:nvSpPr>
          <p:cNvPr id="25605" name="Rectangle 5"/>
          <p:cNvSpPr>
            <a:spLocks noChangeArrowheads="1"/>
          </p:cNvSpPr>
          <p:nvPr/>
        </p:nvSpPr>
        <p:spPr bwMode="auto">
          <a:xfrm>
            <a:off x="228600" y="2276475"/>
            <a:ext cx="4343400" cy="4445000"/>
          </a:xfrm>
          <a:prstGeom prst="rect">
            <a:avLst/>
          </a:prstGeom>
          <a:noFill/>
          <a:ln w="9525" algn="ctr">
            <a:solidFill>
              <a:srgbClr val="9999FF"/>
            </a:solidFill>
            <a:miter lim="800000"/>
            <a:headEnd/>
            <a:tailEnd/>
          </a:ln>
        </p:spPr>
        <p:txBody>
          <a:bodyPr lIns="91436" tIns="45716" rIns="91436" bIns="45716"/>
          <a:lstStyle/>
          <a:p>
            <a:pPr marL="180975" indent="-180975">
              <a:lnSpc>
                <a:spcPct val="125000"/>
              </a:lnSpc>
              <a:spcBef>
                <a:spcPct val="25000"/>
              </a:spcBef>
              <a:buClr>
                <a:srgbClr val="9999FF"/>
              </a:buClr>
              <a:buFont typeface="Wingdings" pitchFamily="2" charset="2"/>
              <a:buChar char="§"/>
            </a:pPr>
            <a:endParaRPr lang="en-US" sz="1400"/>
          </a:p>
          <a:p>
            <a:pPr marL="180975" indent="-180975">
              <a:lnSpc>
                <a:spcPct val="125000"/>
              </a:lnSpc>
              <a:spcBef>
                <a:spcPct val="25000"/>
              </a:spcBef>
              <a:buClr>
                <a:srgbClr val="9999FF"/>
              </a:buClr>
              <a:buFont typeface="Wingdings" pitchFamily="2" charset="2"/>
              <a:buChar char="§"/>
            </a:pPr>
            <a:r>
              <a:rPr lang="en-US" sz="1400"/>
              <a:t>Improve information and management systems between headquarters and branch offices</a:t>
            </a:r>
          </a:p>
          <a:p>
            <a:pPr marL="180975" indent="-180975">
              <a:spcBef>
                <a:spcPts val="1800"/>
              </a:spcBef>
              <a:buClr>
                <a:srgbClr val="9999FF"/>
              </a:buClr>
              <a:buFont typeface="Wingdings" pitchFamily="2" charset="2"/>
              <a:buChar char="§"/>
            </a:pPr>
            <a:r>
              <a:rPr lang="en-US" sz="1400"/>
              <a:t>Strengthen financial management and linkages to program monitoring</a:t>
            </a:r>
          </a:p>
          <a:p>
            <a:pPr marL="180975" indent="-180975">
              <a:spcBef>
                <a:spcPts val="1800"/>
              </a:spcBef>
              <a:buClr>
                <a:srgbClr val="9999FF"/>
              </a:buClr>
              <a:buFont typeface="Wingdings" pitchFamily="2" charset="2"/>
              <a:buChar char="§"/>
            </a:pPr>
            <a:r>
              <a:rPr lang="en-US" sz="1400"/>
              <a:t>Assess and integrate social media and new technology tools to increase national outreach</a:t>
            </a:r>
          </a:p>
          <a:p>
            <a:pPr marL="180975" indent="-180975">
              <a:spcBef>
                <a:spcPts val="1800"/>
              </a:spcBef>
              <a:buClr>
                <a:srgbClr val="9999FF"/>
              </a:buClr>
              <a:buFont typeface="Wingdings" pitchFamily="2" charset="2"/>
              <a:buChar char="§"/>
            </a:pPr>
            <a:r>
              <a:rPr lang="en-US" sz="1400"/>
              <a:t>Continue to scale operations nationally through enhanced organizational development</a:t>
            </a:r>
          </a:p>
          <a:p>
            <a:pPr marL="180975" indent="-180975">
              <a:spcBef>
                <a:spcPts val="1800"/>
              </a:spcBef>
              <a:buClr>
                <a:srgbClr val="9999FF"/>
              </a:buClr>
              <a:buFont typeface="Wingdings" pitchFamily="2" charset="2"/>
              <a:buChar char="§"/>
            </a:pPr>
            <a:r>
              <a:rPr lang="en-US" sz="1400"/>
              <a:t>Continue to position ALCS as a HIV/AIDS Centre of Excellence in Morocco and the region</a:t>
            </a:r>
          </a:p>
          <a:p>
            <a:pPr marL="180975" indent="-180975">
              <a:spcBef>
                <a:spcPts val="1800"/>
              </a:spcBef>
              <a:buClr>
                <a:srgbClr val="9999FF"/>
              </a:buClr>
              <a:buFont typeface="Wingdings" pitchFamily="2" charset="2"/>
              <a:buChar char="§"/>
            </a:pPr>
            <a:endParaRPr lang="en-US" sz="1400"/>
          </a:p>
          <a:p>
            <a:pPr marL="180975" indent="-180975">
              <a:spcBef>
                <a:spcPts val="1800"/>
              </a:spcBef>
              <a:buClr>
                <a:srgbClr val="9999FF"/>
              </a:buClr>
              <a:buFont typeface="Wingdings" pitchFamily="2" charset="2"/>
              <a:buNone/>
            </a:pPr>
            <a:endParaRPr lang="en-US" sz="1400"/>
          </a:p>
        </p:txBody>
      </p:sp>
      <p:sp>
        <p:nvSpPr>
          <p:cNvPr id="25606" name="Rectangle 6"/>
          <p:cNvSpPr>
            <a:spLocks noChangeArrowheads="1"/>
          </p:cNvSpPr>
          <p:nvPr/>
        </p:nvSpPr>
        <p:spPr bwMode="auto">
          <a:xfrm>
            <a:off x="1092200" y="2103438"/>
            <a:ext cx="2625725" cy="336550"/>
          </a:xfrm>
          <a:prstGeom prst="rect">
            <a:avLst/>
          </a:prstGeom>
          <a:solidFill>
            <a:schemeClr val="bg1"/>
          </a:solidFill>
          <a:ln w="9525">
            <a:noFill/>
            <a:miter lim="800000"/>
            <a:headEnd/>
            <a:tailEnd/>
          </a:ln>
        </p:spPr>
        <p:txBody>
          <a:bodyPr wrap="none" lIns="91436" tIns="45716" rIns="91436" bIns="45716" anchor="ctr">
            <a:spAutoFit/>
          </a:bodyPr>
          <a:lstStyle/>
          <a:p>
            <a:pPr algn="ctr"/>
            <a:r>
              <a:rPr lang="de-DE" sz="1600" b="1">
                <a:solidFill>
                  <a:schemeClr val="accent1"/>
                </a:solidFill>
              </a:rPr>
              <a:t>Strategic Plan Objectives</a:t>
            </a:r>
          </a:p>
        </p:txBody>
      </p:sp>
      <p:sp>
        <p:nvSpPr>
          <p:cNvPr id="25607" name="Rectangle 7"/>
          <p:cNvSpPr>
            <a:spLocks noChangeArrowheads="1"/>
          </p:cNvSpPr>
          <p:nvPr/>
        </p:nvSpPr>
        <p:spPr bwMode="auto">
          <a:xfrm>
            <a:off x="4799013" y="2298700"/>
            <a:ext cx="4038600" cy="4422775"/>
          </a:xfrm>
          <a:prstGeom prst="rect">
            <a:avLst/>
          </a:prstGeom>
          <a:noFill/>
          <a:ln w="9525" algn="ctr">
            <a:solidFill>
              <a:srgbClr val="9999FF"/>
            </a:solidFill>
            <a:miter lim="800000"/>
            <a:headEnd/>
            <a:tailEnd/>
          </a:ln>
        </p:spPr>
        <p:txBody>
          <a:bodyPr lIns="91436" tIns="45716" rIns="91436" bIns="45716"/>
          <a:lstStyle/>
          <a:p>
            <a:pPr marL="265113" indent="-265113">
              <a:spcBef>
                <a:spcPct val="30000"/>
              </a:spcBef>
              <a:buClr>
                <a:srgbClr val="9999FF"/>
              </a:buClr>
              <a:buFont typeface="Wingdings" pitchFamily="2" charset="2"/>
              <a:buNone/>
            </a:pPr>
            <a:endParaRPr lang="en-US" sz="1300" b="1">
              <a:latin typeface="Helvetica" pitchFamily="34" charset="0"/>
            </a:endParaRPr>
          </a:p>
          <a:p>
            <a:pPr marL="265113" indent="-265113">
              <a:spcBef>
                <a:spcPct val="30000"/>
              </a:spcBef>
              <a:buClr>
                <a:srgbClr val="9999FF"/>
              </a:buClr>
              <a:buFont typeface="Wingdings" pitchFamily="2" charset="2"/>
              <a:buChar char="§"/>
            </a:pPr>
            <a:r>
              <a:rPr lang="en-US" sz="1300" b="1">
                <a:latin typeface="Helvetica" pitchFamily="34" charset="0"/>
              </a:rPr>
              <a:t>IT Assessment</a:t>
            </a:r>
            <a:r>
              <a:rPr lang="en-US" sz="1300">
                <a:latin typeface="Helvetica" pitchFamily="34" charset="0"/>
              </a:rPr>
              <a:t>: Stabilize IT capability through strategic outsourcing</a:t>
            </a:r>
          </a:p>
          <a:p>
            <a:pPr marL="265113" indent="-265113">
              <a:spcBef>
                <a:spcPct val="30000"/>
              </a:spcBef>
              <a:buClr>
                <a:srgbClr val="9999FF"/>
              </a:buClr>
              <a:buFont typeface="Wingdings" pitchFamily="2" charset="2"/>
              <a:buChar char="§"/>
            </a:pPr>
            <a:r>
              <a:rPr lang="en-US" sz="1300" b="1">
                <a:latin typeface="Helvetica" pitchFamily="34" charset="0"/>
              </a:rPr>
              <a:t>Financial Management</a:t>
            </a:r>
            <a:r>
              <a:rPr lang="en-US" sz="1300">
                <a:latin typeface="Helvetica" pitchFamily="34" charset="0"/>
              </a:rPr>
              <a:t>: Institute real-time information gathering for improved planning, budgeting and forecasting accountability</a:t>
            </a:r>
            <a:endParaRPr lang="de-DE" sz="1300">
              <a:latin typeface="Helvetica" pitchFamily="34" charset="0"/>
            </a:endParaRPr>
          </a:p>
          <a:p>
            <a:pPr marL="265113" indent="-265113">
              <a:spcBef>
                <a:spcPct val="30000"/>
              </a:spcBef>
              <a:buClr>
                <a:srgbClr val="9999FF"/>
              </a:buClr>
              <a:buFont typeface="Wingdings" pitchFamily="2" charset="2"/>
              <a:buChar char="§"/>
            </a:pPr>
            <a:r>
              <a:rPr lang="en-US" sz="1300" b="1">
                <a:latin typeface="Helvetica" pitchFamily="34" charset="0"/>
              </a:rPr>
              <a:t>Operational Metrics: </a:t>
            </a:r>
            <a:r>
              <a:rPr lang="en-US" sz="1300">
                <a:latin typeface="Helvetica" pitchFamily="34" charset="0"/>
              </a:rPr>
              <a:t>Centralize information collection to improve data quality and achieve national targets for HIV/AIDS prevention</a:t>
            </a:r>
            <a:endParaRPr lang="en-US" sz="1300" b="1">
              <a:latin typeface="Helvetica" pitchFamily="34" charset="0"/>
            </a:endParaRPr>
          </a:p>
          <a:p>
            <a:pPr marL="265113" indent="-265113">
              <a:spcBef>
                <a:spcPct val="30000"/>
              </a:spcBef>
              <a:buClr>
                <a:srgbClr val="9999FF"/>
              </a:buClr>
              <a:buFont typeface="Wingdings" pitchFamily="2" charset="2"/>
              <a:buChar char="§"/>
            </a:pPr>
            <a:r>
              <a:rPr lang="en-US" sz="1300" b="1">
                <a:latin typeface="Helvetica" pitchFamily="34" charset="0"/>
              </a:rPr>
              <a:t>Communications: </a:t>
            </a:r>
            <a:r>
              <a:rPr lang="en-US" sz="1300">
                <a:latin typeface="Helvetica" pitchFamily="34" charset="0"/>
              </a:rPr>
              <a:t>Leverage online collaboration tools to strengthen internal communications and information sharing </a:t>
            </a:r>
          </a:p>
          <a:p>
            <a:pPr marL="265113" indent="-265113">
              <a:spcBef>
                <a:spcPct val="30000"/>
              </a:spcBef>
              <a:buClr>
                <a:srgbClr val="9999FF"/>
              </a:buClr>
              <a:buFont typeface="Wingdings" pitchFamily="2" charset="2"/>
              <a:buChar char="§"/>
            </a:pPr>
            <a:r>
              <a:rPr lang="en-US" sz="1300" b="1">
                <a:latin typeface="Helvetica" pitchFamily="34" charset="0"/>
              </a:rPr>
              <a:t>Archiving/Backup: </a:t>
            </a:r>
            <a:r>
              <a:rPr lang="en-US" sz="1300">
                <a:latin typeface="Helvetica" pitchFamily="34" charset="0"/>
              </a:rPr>
              <a:t>Institute a plan to support continuity of operations and information security</a:t>
            </a:r>
          </a:p>
          <a:p>
            <a:pPr marL="265113" indent="-265113">
              <a:spcBef>
                <a:spcPct val="30000"/>
              </a:spcBef>
              <a:buClr>
                <a:srgbClr val="9999FF"/>
              </a:buClr>
              <a:buFont typeface="Wingdings" pitchFamily="2" charset="2"/>
              <a:buChar char="§"/>
            </a:pPr>
            <a:r>
              <a:rPr lang="en-US" sz="1300" b="1">
                <a:latin typeface="Helvetica" pitchFamily="34" charset="0"/>
              </a:rPr>
              <a:t>Fundraising:</a:t>
            </a:r>
            <a:r>
              <a:rPr lang="en-US" sz="1300">
                <a:latin typeface="Helvetica" pitchFamily="34" charset="0"/>
              </a:rPr>
              <a:t> Optimize the donor database to effectively address potential funding sources</a:t>
            </a:r>
          </a:p>
          <a:p>
            <a:pPr marL="265113" indent="-265113">
              <a:spcBef>
                <a:spcPct val="30000"/>
              </a:spcBef>
              <a:buClr>
                <a:srgbClr val="9999FF"/>
              </a:buClr>
              <a:buFont typeface="Wingdings" pitchFamily="2" charset="2"/>
              <a:buChar char="§"/>
            </a:pPr>
            <a:r>
              <a:rPr lang="en-US" sz="1300" b="1">
                <a:latin typeface="Helvetica" pitchFamily="34" charset="0"/>
              </a:rPr>
              <a:t>Mobile: </a:t>
            </a:r>
            <a:r>
              <a:rPr lang="en-US" sz="1300">
                <a:latin typeface="Helvetica" pitchFamily="34" charset="0"/>
              </a:rPr>
              <a:t>Create a customized application based on existing HIV/AIDS frameworks</a:t>
            </a:r>
          </a:p>
          <a:p>
            <a:pPr marL="265113" indent="-265113">
              <a:spcBef>
                <a:spcPct val="30000"/>
              </a:spcBef>
              <a:buClr>
                <a:srgbClr val="9999FF"/>
              </a:buClr>
              <a:buFont typeface="Wingdings" pitchFamily="2" charset="2"/>
              <a:buChar char="§"/>
            </a:pPr>
            <a:endParaRPr lang="en-US" sz="1300" b="1">
              <a:latin typeface="Helvetica" pitchFamily="34" charset="0"/>
            </a:endParaRPr>
          </a:p>
          <a:p>
            <a:pPr marL="265113" indent="-265113">
              <a:spcBef>
                <a:spcPct val="30000"/>
              </a:spcBef>
              <a:buClr>
                <a:srgbClr val="9999FF"/>
              </a:buClr>
              <a:buFont typeface="Wingdings" pitchFamily="2" charset="2"/>
              <a:buChar char="§"/>
            </a:pPr>
            <a:endParaRPr lang="de-DE" sz="1300">
              <a:latin typeface="Helvetica" pitchFamily="34" charset="0"/>
            </a:endParaRPr>
          </a:p>
        </p:txBody>
      </p:sp>
      <p:sp>
        <p:nvSpPr>
          <p:cNvPr id="25608" name="Rectangle 8"/>
          <p:cNvSpPr>
            <a:spLocks noChangeArrowheads="1"/>
          </p:cNvSpPr>
          <p:nvPr/>
        </p:nvSpPr>
        <p:spPr bwMode="auto">
          <a:xfrm>
            <a:off x="5649913" y="2103438"/>
            <a:ext cx="2428875" cy="336550"/>
          </a:xfrm>
          <a:prstGeom prst="rect">
            <a:avLst/>
          </a:prstGeom>
          <a:solidFill>
            <a:schemeClr val="bg1"/>
          </a:solidFill>
          <a:ln w="9525">
            <a:noFill/>
            <a:miter lim="800000"/>
            <a:headEnd/>
            <a:tailEnd/>
          </a:ln>
        </p:spPr>
        <p:txBody>
          <a:bodyPr wrap="none" lIns="91436" tIns="45716" rIns="91436" bIns="45716" anchor="ctr">
            <a:spAutoFit/>
          </a:bodyPr>
          <a:lstStyle/>
          <a:p>
            <a:pPr algn="ctr"/>
            <a:r>
              <a:rPr lang="de-DE" sz="1600" b="1">
                <a:solidFill>
                  <a:schemeClr val="accent1"/>
                </a:solidFill>
              </a:rPr>
              <a:t>Key Recommendations</a:t>
            </a:r>
          </a:p>
        </p:txBody>
      </p:sp>
      <p:sp>
        <p:nvSpPr>
          <p:cNvPr id="25609" name="AutoShape 9"/>
          <p:cNvSpPr>
            <a:spLocks noChangeArrowheads="1"/>
          </p:cNvSpPr>
          <p:nvPr/>
        </p:nvSpPr>
        <p:spPr bwMode="auto">
          <a:xfrm flipV="1">
            <a:off x="3889375" y="1985963"/>
            <a:ext cx="1819275" cy="312737"/>
          </a:xfrm>
          <a:prstGeom prst="curvedUpArrow">
            <a:avLst>
              <a:gd name="adj1" fmla="val 116345"/>
              <a:gd name="adj2" fmla="val 232691"/>
              <a:gd name="adj3" fmla="val 33333"/>
            </a:avLst>
          </a:prstGeom>
          <a:gradFill rotWithShape="1">
            <a:gsLst>
              <a:gs pos="0">
                <a:srgbClr val="CCCCFF"/>
              </a:gs>
              <a:gs pos="100000">
                <a:srgbClr val="9999FF"/>
              </a:gs>
            </a:gsLst>
            <a:lin ang="5400000" scaled="1"/>
          </a:gradFill>
          <a:ln w="9525">
            <a:noFill/>
            <a:miter lim="800000"/>
            <a:headEnd/>
            <a:tailEnd/>
          </a:ln>
        </p:spPr>
        <p:txBody>
          <a:bodyPr rot="10800000" wrap="none" anchor="ctr"/>
          <a:lstStyle/>
          <a:p>
            <a:endParaRPr lang="en-US"/>
          </a:p>
        </p:txBody>
      </p:sp>
      <p:sp>
        <p:nvSpPr>
          <p:cNvPr id="25610" name="Oval 7"/>
          <p:cNvSpPr>
            <a:spLocks noChangeAspect="1" noChangeArrowheads="1"/>
          </p:cNvSpPr>
          <p:nvPr/>
        </p:nvSpPr>
        <p:spPr bwMode="auto">
          <a:xfrm>
            <a:off x="4852988" y="5959475"/>
            <a:ext cx="252412" cy="252413"/>
          </a:xfrm>
          <a:prstGeom prst="ellipse">
            <a:avLst/>
          </a:prstGeom>
          <a:solidFill>
            <a:srgbClr val="9999FF"/>
          </a:solidFill>
          <a:ln w="38100">
            <a:solidFill>
              <a:schemeClr val="bg1"/>
            </a:solidFill>
            <a:round/>
            <a:headEnd/>
            <a:tailEnd/>
          </a:ln>
        </p:spPr>
        <p:txBody>
          <a:bodyPr wrap="none" lIns="91436" tIns="45716" rIns="91436" bIns="45716" anchor="ctr"/>
          <a:lstStyle/>
          <a:p>
            <a:pPr algn="ctr"/>
            <a:r>
              <a:rPr lang="en-US" sz="1200">
                <a:solidFill>
                  <a:schemeClr val="bg1"/>
                </a:solidFill>
              </a:rPr>
              <a:t>7</a:t>
            </a:r>
          </a:p>
        </p:txBody>
      </p:sp>
      <p:sp>
        <p:nvSpPr>
          <p:cNvPr id="25611" name="Oval 7"/>
          <p:cNvSpPr>
            <a:spLocks noChangeAspect="1" noChangeArrowheads="1"/>
          </p:cNvSpPr>
          <p:nvPr/>
        </p:nvSpPr>
        <p:spPr bwMode="auto">
          <a:xfrm>
            <a:off x="4852988" y="5003800"/>
            <a:ext cx="252412" cy="252413"/>
          </a:xfrm>
          <a:prstGeom prst="ellipse">
            <a:avLst/>
          </a:prstGeom>
          <a:solidFill>
            <a:srgbClr val="9999FF"/>
          </a:solidFill>
          <a:ln w="38100">
            <a:solidFill>
              <a:schemeClr val="bg1"/>
            </a:solidFill>
            <a:round/>
            <a:headEnd/>
            <a:tailEnd/>
          </a:ln>
        </p:spPr>
        <p:txBody>
          <a:bodyPr wrap="none" lIns="91436" tIns="45716" rIns="91436" bIns="45716" anchor="ctr"/>
          <a:lstStyle/>
          <a:p>
            <a:pPr algn="ctr"/>
            <a:r>
              <a:rPr lang="en-US" sz="1200">
                <a:solidFill>
                  <a:schemeClr val="bg1"/>
                </a:solidFill>
              </a:rPr>
              <a:t>5</a:t>
            </a:r>
          </a:p>
        </p:txBody>
      </p:sp>
      <p:sp>
        <p:nvSpPr>
          <p:cNvPr id="25612" name="Oval 7"/>
          <p:cNvSpPr>
            <a:spLocks noChangeAspect="1" noChangeArrowheads="1"/>
          </p:cNvSpPr>
          <p:nvPr/>
        </p:nvSpPr>
        <p:spPr bwMode="auto">
          <a:xfrm>
            <a:off x="4852988" y="4295775"/>
            <a:ext cx="252412" cy="252413"/>
          </a:xfrm>
          <a:prstGeom prst="ellipse">
            <a:avLst/>
          </a:prstGeom>
          <a:solidFill>
            <a:srgbClr val="9999FF"/>
          </a:solidFill>
          <a:ln w="38100">
            <a:solidFill>
              <a:schemeClr val="bg1"/>
            </a:solidFill>
            <a:round/>
            <a:headEnd/>
            <a:tailEnd/>
          </a:ln>
        </p:spPr>
        <p:txBody>
          <a:bodyPr wrap="none" lIns="91436" tIns="45716" rIns="91436" bIns="45716" anchor="ctr"/>
          <a:lstStyle/>
          <a:p>
            <a:pPr algn="ctr"/>
            <a:r>
              <a:rPr lang="en-US" sz="1200">
                <a:solidFill>
                  <a:schemeClr val="bg1"/>
                </a:solidFill>
              </a:rPr>
              <a:t>4</a:t>
            </a:r>
          </a:p>
        </p:txBody>
      </p:sp>
      <p:sp>
        <p:nvSpPr>
          <p:cNvPr id="25613" name="Oval 7"/>
          <p:cNvSpPr>
            <a:spLocks noChangeAspect="1" noChangeArrowheads="1"/>
          </p:cNvSpPr>
          <p:nvPr/>
        </p:nvSpPr>
        <p:spPr bwMode="auto">
          <a:xfrm>
            <a:off x="4852988" y="3732213"/>
            <a:ext cx="252412" cy="252412"/>
          </a:xfrm>
          <a:prstGeom prst="ellipse">
            <a:avLst/>
          </a:prstGeom>
          <a:solidFill>
            <a:srgbClr val="9999FF"/>
          </a:solidFill>
          <a:ln w="38100">
            <a:solidFill>
              <a:schemeClr val="bg1"/>
            </a:solidFill>
            <a:round/>
            <a:headEnd/>
            <a:tailEnd/>
          </a:ln>
        </p:spPr>
        <p:txBody>
          <a:bodyPr wrap="none" lIns="91436" tIns="45716" rIns="91436" bIns="45716" anchor="ctr"/>
          <a:lstStyle/>
          <a:p>
            <a:pPr algn="ctr"/>
            <a:r>
              <a:rPr lang="en-US" sz="1200">
                <a:solidFill>
                  <a:schemeClr val="bg1"/>
                </a:solidFill>
              </a:rPr>
              <a:t>3</a:t>
            </a:r>
          </a:p>
        </p:txBody>
      </p:sp>
      <p:sp>
        <p:nvSpPr>
          <p:cNvPr id="25614" name="Oval 7"/>
          <p:cNvSpPr>
            <a:spLocks noChangeAspect="1" noChangeArrowheads="1"/>
          </p:cNvSpPr>
          <p:nvPr/>
        </p:nvSpPr>
        <p:spPr bwMode="auto">
          <a:xfrm>
            <a:off x="4852988" y="3024188"/>
            <a:ext cx="252412" cy="252412"/>
          </a:xfrm>
          <a:prstGeom prst="ellipse">
            <a:avLst/>
          </a:prstGeom>
          <a:solidFill>
            <a:srgbClr val="9999FF"/>
          </a:solidFill>
          <a:ln w="38100">
            <a:solidFill>
              <a:schemeClr val="bg1"/>
            </a:solidFill>
            <a:round/>
            <a:headEnd/>
            <a:tailEnd/>
          </a:ln>
        </p:spPr>
        <p:txBody>
          <a:bodyPr wrap="none" lIns="91436" tIns="45716" rIns="91436" bIns="45716" anchor="ctr"/>
          <a:lstStyle/>
          <a:p>
            <a:pPr algn="ctr"/>
            <a:r>
              <a:rPr lang="en-US" sz="1200">
                <a:solidFill>
                  <a:schemeClr val="bg1"/>
                </a:solidFill>
              </a:rPr>
              <a:t>2</a:t>
            </a:r>
          </a:p>
        </p:txBody>
      </p:sp>
      <p:sp>
        <p:nvSpPr>
          <p:cNvPr id="25615" name="Oval 7"/>
          <p:cNvSpPr>
            <a:spLocks noChangeAspect="1" noChangeArrowheads="1"/>
          </p:cNvSpPr>
          <p:nvPr/>
        </p:nvSpPr>
        <p:spPr bwMode="auto">
          <a:xfrm>
            <a:off x="4852988" y="2646363"/>
            <a:ext cx="252412" cy="252412"/>
          </a:xfrm>
          <a:prstGeom prst="ellipse">
            <a:avLst/>
          </a:prstGeom>
          <a:solidFill>
            <a:srgbClr val="9999FF"/>
          </a:solidFill>
          <a:ln w="38100">
            <a:solidFill>
              <a:schemeClr val="bg1"/>
            </a:solidFill>
            <a:round/>
            <a:headEnd/>
            <a:tailEnd/>
          </a:ln>
        </p:spPr>
        <p:txBody>
          <a:bodyPr wrap="none" lIns="91436" tIns="45716" rIns="91436" bIns="45716" anchor="ctr"/>
          <a:lstStyle/>
          <a:p>
            <a:pPr algn="ctr"/>
            <a:r>
              <a:rPr lang="en-US" sz="1200">
                <a:solidFill>
                  <a:schemeClr val="bg1"/>
                </a:solidFill>
              </a:rPr>
              <a:t>1</a:t>
            </a:r>
          </a:p>
        </p:txBody>
      </p:sp>
      <p:sp>
        <p:nvSpPr>
          <p:cNvPr id="25616" name="Oval 7"/>
          <p:cNvSpPr>
            <a:spLocks noChangeAspect="1" noChangeArrowheads="1"/>
          </p:cNvSpPr>
          <p:nvPr/>
        </p:nvSpPr>
        <p:spPr bwMode="auto">
          <a:xfrm>
            <a:off x="4852988" y="5534025"/>
            <a:ext cx="252412" cy="252413"/>
          </a:xfrm>
          <a:prstGeom prst="ellipse">
            <a:avLst/>
          </a:prstGeom>
          <a:solidFill>
            <a:srgbClr val="9999FF"/>
          </a:solidFill>
          <a:ln w="38100">
            <a:solidFill>
              <a:schemeClr val="bg1"/>
            </a:solidFill>
            <a:round/>
            <a:headEnd/>
            <a:tailEnd/>
          </a:ln>
        </p:spPr>
        <p:txBody>
          <a:bodyPr wrap="none" lIns="91436" tIns="45716" rIns="91436" bIns="45716" anchor="ctr"/>
          <a:lstStyle/>
          <a:p>
            <a:pPr algn="ctr"/>
            <a:r>
              <a:rPr lang="en-US" sz="1200">
                <a:solidFill>
                  <a:schemeClr val="bg1"/>
                </a:solidFill>
              </a:rPr>
              <a:t>6</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2"/>
          <p:cNvSpPr>
            <a:spLocks noGrp="1" noChangeArrowheads="1"/>
          </p:cNvSpPr>
          <p:nvPr>
            <p:ph type="title" idx="4294967295"/>
          </p:nvPr>
        </p:nvSpPr>
        <p:spPr/>
        <p:txBody>
          <a:bodyPr/>
          <a:lstStyle/>
          <a:p>
            <a:r>
              <a:rPr lang="en-US" smtClean="0"/>
              <a:t>Overall CSC Project Goals</a:t>
            </a:r>
          </a:p>
        </p:txBody>
      </p:sp>
      <p:sp>
        <p:nvSpPr>
          <p:cNvPr id="65539" name="Rectangle 3"/>
          <p:cNvSpPr>
            <a:spLocks noGrp="1" noChangeArrowheads="1"/>
          </p:cNvSpPr>
          <p:nvPr>
            <p:ph type="body" idx="4294967295"/>
          </p:nvPr>
        </p:nvSpPr>
        <p:spPr/>
        <p:txBody>
          <a:bodyPr/>
          <a:lstStyle/>
          <a:p>
            <a:r>
              <a:rPr lang="en-US" sz="2000" smtClean="0"/>
              <a:t>Enable ALCS objectives and the social development agenda of Morocco  </a:t>
            </a:r>
          </a:p>
          <a:p>
            <a:r>
              <a:rPr lang="en-US" sz="2000" smtClean="0"/>
              <a:t>Focus on technology optimization to facilitate scaling of ACLS at a national level</a:t>
            </a:r>
          </a:p>
          <a:p>
            <a:r>
              <a:rPr lang="en-US" sz="2000" smtClean="0"/>
              <a:t>Design development of new applications to improve operational efficiency</a:t>
            </a:r>
          </a:p>
          <a:p>
            <a:r>
              <a:rPr lang="en-US" sz="2000" smtClean="0"/>
              <a:t>Ultimately, help in fight against AIDS prevention, both in Morocco, and potentially regionally</a:t>
            </a:r>
          </a:p>
          <a:p>
            <a:endParaRPr lang="en-US" sz="2000" smtClean="0"/>
          </a:p>
          <a:p>
            <a:pPr>
              <a:buFont typeface="Wingdings" pitchFamily="2" charset="2"/>
              <a:buNone/>
            </a:pPr>
            <a:endParaRPr lang="en-US" sz="2000" smtClean="0"/>
          </a:p>
        </p:txBody>
      </p:sp>
      <p:sp>
        <p:nvSpPr>
          <p:cNvPr id="65541" name="Rectangle 5"/>
          <p:cNvSpPr>
            <a:spLocks noChangeArrowheads="1"/>
          </p:cNvSpPr>
          <p:nvPr/>
        </p:nvSpPr>
        <p:spPr bwMode="auto">
          <a:xfrm>
            <a:off x="152400" y="4114800"/>
            <a:ext cx="8564563" cy="1311275"/>
          </a:xfrm>
          <a:prstGeom prst="rect">
            <a:avLst/>
          </a:prstGeom>
          <a:noFill/>
          <a:ln w="9525">
            <a:solidFill>
              <a:schemeClr val="accent2"/>
            </a:solidFill>
            <a:miter lim="800000"/>
            <a:headEnd/>
            <a:tailEnd/>
          </a:ln>
          <a:effectLst/>
        </p:spPr>
        <p:txBody>
          <a:bodyPr>
            <a:spAutoFit/>
          </a:bodyPr>
          <a:lstStyle/>
          <a:p>
            <a:pPr algn="ctr" eaLnBrk="0" hangingPunct="0">
              <a:spcBef>
                <a:spcPct val="20000"/>
              </a:spcBef>
              <a:buClr>
                <a:schemeClr val="hlink"/>
              </a:buClr>
              <a:buFont typeface="Wingdings" pitchFamily="2" charset="2"/>
              <a:buNone/>
            </a:pPr>
            <a:r>
              <a:rPr lang="en-US" i="1"/>
              <a:t>The IBM CSC Team will provide a clear and objective </a:t>
            </a:r>
          </a:p>
          <a:p>
            <a:pPr algn="ctr" eaLnBrk="0" hangingPunct="0">
              <a:spcBef>
                <a:spcPct val="20000"/>
              </a:spcBef>
              <a:buClr>
                <a:schemeClr val="hlink"/>
              </a:buClr>
              <a:buFont typeface="Wingdings" pitchFamily="2" charset="2"/>
              <a:buNone/>
            </a:pPr>
            <a:r>
              <a:rPr lang="en-US" i="1">
                <a:solidFill>
                  <a:schemeClr val="hlink"/>
                </a:solidFill>
              </a:rPr>
              <a:t>assessment of organizational gaps</a:t>
            </a:r>
            <a:r>
              <a:rPr lang="en-US" i="1"/>
              <a:t> - </a:t>
            </a:r>
            <a:r>
              <a:rPr lang="en-US" i="1">
                <a:solidFill>
                  <a:schemeClr val="hlink"/>
                </a:solidFill>
              </a:rPr>
              <a:t>IT information, management and budget</a:t>
            </a:r>
            <a:r>
              <a:rPr lang="en-US" i="1"/>
              <a:t> – </a:t>
            </a:r>
          </a:p>
          <a:p>
            <a:pPr algn="ctr" eaLnBrk="0" hangingPunct="0">
              <a:spcBef>
                <a:spcPct val="20000"/>
              </a:spcBef>
              <a:buClr>
                <a:schemeClr val="hlink"/>
              </a:buClr>
              <a:buFont typeface="Wingdings" pitchFamily="2" charset="2"/>
              <a:buNone/>
            </a:pPr>
            <a:r>
              <a:rPr lang="en-US" i="1"/>
              <a:t>in keeping with anti-AIDS nationwide strategies and enable the organization to continue to scale as per its strategic plan</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Title 1"/>
          <p:cNvSpPr>
            <a:spLocks noGrp="1"/>
          </p:cNvSpPr>
          <p:nvPr>
            <p:ph type="title" idx="4294967295"/>
          </p:nvPr>
        </p:nvSpPr>
        <p:spPr>
          <a:xfrm>
            <a:off x="204788" y="593725"/>
            <a:ext cx="7970837" cy="701675"/>
          </a:xfrm>
        </p:spPr>
        <p:txBody>
          <a:bodyPr/>
          <a:lstStyle/>
          <a:p>
            <a:pPr eaLnBrk="1" hangingPunct="1"/>
            <a:r>
              <a:rPr lang="en-US" smtClean="0"/>
              <a:t>Our Commitments to ALCS</a:t>
            </a:r>
          </a:p>
        </p:txBody>
      </p:sp>
      <p:sp>
        <p:nvSpPr>
          <p:cNvPr id="18434" name="Slide Number Placeholder 3"/>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7F4755DD-E4ED-4597-BEB1-B1D5C974B696}" type="slidenum">
              <a:rPr lang="en-US" sz="800">
                <a:latin typeface="HelveticaNeueLT Pro 65 Md"/>
              </a:rPr>
              <a:pPr/>
              <a:t>6</a:t>
            </a:fld>
            <a:endParaRPr lang="en-US" sz="800">
              <a:latin typeface="HelveticaNeueLT Pro 65 Md"/>
            </a:endParaRPr>
          </a:p>
        </p:txBody>
      </p:sp>
      <p:sp>
        <p:nvSpPr>
          <p:cNvPr id="18435" name="Rectangle 4"/>
          <p:cNvSpPr>
            <a:spLocks noChangeArrowheads="1"/>
          </p:cNvSpPr>
          <p:nvPr/>
        </p:nvSpPr>
        <p:spPr bwMode="gray">
          <a:xfrm>
            <a:off x="555625" y="4710113"/>
            <a:ext cx="3810000" cy="1219200"/>
          </a:xfrm>
          <a:prstGeom prst="rect">
            <a:avLst/>
          </a:prstGeom>
          <a:solidFill>
            <a:srgbClr val="7889FB"/>
          </a:solidFill>
          <a:ln w="9525">
            <a:solidFill>
              <a:schemeClr val="accent1"/>
            </a:solidFill>
            <a:miter lim="800000"/>
            <a:headEnd/>
            <a:tailEnd/>
          </a:ln>
        </p:spPr>
        <p:txBody>
          <a:bodyPr anchor="ctr"/>
          <a:lstStyle/>
          <a:p>
            <a:pPr algn="ctr" eaLnBrk="0" hangingPunct="0"/>
            <a:r>
              <a:rPr lang="en-US" sz="1600" b="1">
                <a:solidFill>
                  <a:schemeClr val="bg1"/>
                </a:solidFill>
                <a:latin typeface="HelveticaNeueLT Pro 65 Md"/>
              </a:rPr>
              <a:t>Improving operational efficiency through streamlined financial management practices</a:t>
            </a:r>
          </a:p>
        </p:txBody>
      </p:sp>
      <p:sp>
        <p:nvSpPr>
          <p:cNvPr id="18436" name="Rectangle 4"/>
          <p:cNvSpPr>
            <a:spLocks noChangeArrowheads="1"/>
          </p:cNvSpPr>
          <p:nvPr/>
        </p:nvSpPr>
        <p:spPr bwMode="gray">
          <a:xfrm>
            <a:off x="4648200" y="4710113"/>
            <a:ext cx="3810000" cy="1219200"/>
          </a:xfrm>
          <a:prstGeom prst="rect">
            <a:avLst/>
          </a:prstGeom>
          <a:solidFill>
            <a:srgbClr val="7889FB"/>
          </a:solidFill>
          <a:ln w="9525">
            <a:solidFill>
              <a:schemeClr val="accent1"/>
            </a:solidFill>
            <a:miter lim="800000"/>
            <a:headEnd/>
            <a:tailEnd/>
          </a:ln>
        </p:spPr>
        <p:txBody>
          <a:bodyPr anchor="ctr"/>
          <a:lstStyle/>
          <a:p>
            <a:pPr algn="ctr" eaLnBrk="0" hangingPunct="0"/>
            <a:r>
              <a:rPr lang="en-US" sz="1600" b="1">
                <a:solidFill>
                  <a:schemeClr val="bg1"/>
                </a:solidFill>
                <a:latin typeface="HelveticaNeueLT Pro 65 Md"/>
              </a:rPr>
              <a:t>Strengthening capacity for reporting operational outcomes and return on program investments   </a:t>
            </a:r>
          </a:p>
        </p:txBody>
      </p:sp>
      <p:sp>
        <p:nvSpPr>
          <p:cNvPr id="18438" name="TextBox 17"/>
          <p:cNvSpPr txBox="1">
            <a:spLocks noChangeArrowheads="1"/>
          </p:cNvSpPr>
          <p:nvPr/>
        </p:nvSpPr>
        <p:spPr bwMode="auto">
          <a:xfrm>
            <a:off x="1536700" y="2020888"/>
            <a:ext cx="6216650" cy="366712"/>
          </a:xfrm>
          <a:prstGeom prst="rect">
            <a:avLst/>
          </a:prstGeom>
          <a:noFill/>
          <a:ln w="9525">
            <a:noFill/>
            <a:miter lim="800000"/>
            <a:headEnd/>
            <a:tailEnd/>
          </a:ln>
        </p:spPr>
        <p:txBody>
          <a:bodyPr wrap="none">
            <a:spAutoFit/>
          </a:bodyPr>
          <a:lstStyle/>
          <a:p>
            <a:r>
              <a:rPr lang="en-US" b="1">
                <a:solidFill>
                  <a:srgbClr val="7889FB"/>
                </a:solidFill>
                <a:latin typeface="HelveticaNeueLT Pro 65 Md"/>
              </a:rPr>
              <a:t>To contribute to the vision and ALCS core objectives of</a:t>
            </a:r>
          </a:p>
        </p:txBody>
      </p:sp>
      <p:sp>
        <p:nvSpPr>
          <p:cNvPr id="18439" name="TextBox 18"/>
          <p:cNvSpPr txBox="1">
            <a:spLocks noChangeArrowheads="1"/>
          </p:cNvSpPr>
          <p:nvPr/>
        </p:nvSpPr>
        <p:spPr bwMode="auto">
          <a:xfrm>
            <a:off x="4138613" y="4049713"/>
            <a:ext cx="450850" cy="366712"/>
          </a:xfrm>
          <a:prstGeom prst="rect">
            <a:avLst/>
          </a:prstGeom>
          <a:noFill/>
          <a:ln w="9525">
            <a:noFill/>
            <a:miter lim="800000"/>
            <a:headEnd/>
            <a:tailEnd/>
          </a:ln>
        </p:spPr>
        <p:txBody>
          <a:bodyPr wrap="none">
            <a:spAutoFit/>
          </a:bodyPr>
          <a:lstStyle/>
          <a:p>
            <a:r>
              <a:rPr lang="en-US" b="1">
                <a:solidFill>
                  <a:srgbClr val="7889FB"/>
                </a:solidFill>
                <a:latin typeface="HelveticaNeueLT Pro 65 Md"/>
              </a:rPr>
              <a:t>by</a:t>
            </a:r>
          </a:p>
        </p:txBody>
      </p:sp>
      <p:sp>
        <p:nvSpPr>
          <p:cNvPr id="18440" name="Oval 10"/>
          <p:cNvSpPr>
            <a:spLocks noChangeArrowheads="1"/>
          </p:cNvSpPr>
          <p:nvPr/>
        </p:nvSpPr>
        <p:spPr bwMode="gray">
          <a:xfrm>
            <a:off x="381000" y="4572000"/>
            <a:ext cx="381000" cy="304800"/>
          </a:xfrm>
          <a:prstGeom prst="ellipse">
            <a:avLst/>
          </a:prstGeom>
          <a:solidFill>
            <a:schemeClr val="bg1"/>
          </a:solidFill>
          <a:ln w="9525">
            <a:solidFill>
              <a:schemeClr val="tx1"/>
            </a:solidFill>
            <a:miter lim="800000"/>
            <a:headEnd/>
            <a:tailEnd/>
          </a:ln>
        </p:spPr>
        <p:txBody>
          <a:bodyPr lIns="0" tIns="0" rIns="0" bIns="0" anchor="ctr"/>
          <a:lstStyle/>
          <a:p>
            <a:pPr marL="225425" indent="-225425" algn="ctr">
              <a:buClr>
                <a:srgbClr val="7889FB"/>
              </a:buClr>
            </a:pPr>
            <a:r>
              <a:rPr lang="en-US" sz="1600" b="1">
                <a:latin typeface="HelveticaNeueLT Pro 65 Md"/>
              </a:rPr>
              <a:t>1</a:t>
            </a:r>
          </a:p>
        </p:txBody>
      </p:sp>
      <p:sp>
        <p:nvSpPr>
          <p:cNvPr id="18441" name="Oval 11"/>
          <p:cNvSpPr>
            <a:spLocks noChangeArrowheads="1"/>
          </p:cNvSpPr>
          <p:nvPr/>
        </p:nvSpPr>
        <p:spPr bwMode="gray">
          <a:xfrm>
            <a:off x="4495800" y="4572000"/>
            <a:ext cx="381000" cy="304800"/>
          </a:xfrm>
          <a:prstGeom prst="ellipse">
            <a:avLst/>
          </a:prstGeom>
          <a:solidFill>
            <a:schemeClr val="bg1"/>
          </a:solidFill>
          <a:ln w="9525">
            <a:solidFill>
              <a:schemeClr val="tx1"/>
            </a:solidFill>
            <a:miter lim="800000"/>
            <a:headEnd/>
            <a:tailEnd/>
          </a:ln>
        </p:spPr>
        <p:txBody>
          <a:bodyPr lIns="0" tIns="0" rIns="0" bIns="0" anchor="ctr"/>
          <a:lstStyle/>
          <a:p>
            <a:pPr marL="225425" indent="-225425" algn="ctr">
              <a:buClr>
                <a:srgbClr val="7889FB"/>
              </a:buClr>
            </a:pPr>
            <a:r>
              <a:rPr lang="en-US" sz="1600" b="1">
                <a:latin typeface="HelveticaNeueLT Pro 65 Md"/>
              </a:rPr>
              <a:t>2</a:t>
            </a:r>
          </a:p>
        </p:txBody>
      </p:sp>
      <p:sp>
        <p:nvSpPr>
          <p:cNvPr id="18443" name="Rectangle 23"/>
          <p:cNvSpPr>
            <a:spLocks noChangeArrowheads="1"/>
          </p:cNvSpPr>
          <p:nvPr/>
        </p:nvSpPr>
        <p:spPr bwMode="auto">
          <a:xfrm>
            <a:off x="2209800" y="2786063"/>
            <a:ext cx="4572000" cy="915987"/>
          </a:xfrm>
          <a:prstGeom prst="rect">
            <a:avLst/>
          </a:prstGeom>
          <a:solidFill>
            <a:srgbClr val="7889FB"/>
          </a:solidFill>
          <a:ln w="9525">
            <a:noFill/>
            <a:miter lim="800000"/>
            <a:headEnd/>
            <a:tailEnd/>
          </a:ln>
        </p:spPr>
        <p:txBody>
          <a:bodyPr>
            <a:spAutoFit/>
          </a:bodyPr>
          <a:lstStyle/>
          <a:p>
            <a:pPr algn="ctr">
              <a:buFontTx/>
              <a:buChar char="•"/>
            </a:pPr>
            <a:r>
              <a:rPr lang="en-US">
                <a:solidFill>
                  <a:schemeClr val="bg1"/>
                </a:solidFill>
              </a:rPr>
              <a:t>HIV Prevention</a:t>
            </a:r>
          </a:p>
          <a:p>
            <a:pPr algn="ctr">
              <a:buFontTx/>
              <a:buChar char="•"/>
            </a:pPr>
            <a:r>
              <a:rPr lang="en-US">
                <a:solidFill>
                  <a:schemeClr val="bg1"/>
                </a:solidFill>
              </a:rPr>
              <a:t>Care &amp; Psychological Support </a:t>
            </a:r>
          </a:p>
          <a:p>
            <a:pPr algn="ctr">
              <a:buFontTx/>
              <a:buChar char="•"/>
            </a:pPr>
            <a:r>
              <a:rPr lang="en-US">
                <a:solidFill>
                  <a:schemeClr val="bg1"/>
                </a:solidFill>
              </a:rPr>
              <a:t>Advocacy &amp; Human Rights </a:t>
            </a:r>
            <a:r>
              <a:rPr lang="en-US"/>
              <a:t> </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tle 1"/>
          <p:cNvSpPr>
            <a:spLocks noGrp="1"/>
          </p:cNvSpPr>
          <p:nvPr>
            <p:ph type="title" idx="4294967295"/>
          </p:nvPr>
        </p:nvSpPr>
        <p:spPr>
          <a:xfrm>
            <a:off x="228600" y="550863"/>
            <a:ext cx="6858000" cy="407987"/>
          </a:xfrm>
        </p:spPr>
        <p:txBody>
          <a:bodyPr/>
          <a:lstStyle/>
          <a:p>
            <a:pPr eaLnBrk="1" hangingPunct="1"/>
            <a:r>
              <a:rPr lang="en-US" smtClean="0"/>
              <a:t>Our Approach   </a:t>
            </a:r>
          </a:p>
        </p:txBody>
      </p:sp>
      <p:sp>
        <p:nvSpPr>
          <p:cNvPr id="19458" name="Slide Number Placeholder 2"/>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41073B3D-BEC8-491B-8CF5-05A77375B734}" type="slidenum">
              <a:rPr lang="en-US" sz="800"/>
              <a:pPr/>
              <a:t>7</a:t>
            </a:fld>
            <a:endParaRPr lang="en-US" sz="800"/>
          </a:p>
        </p:txBody>
      </p:sp>
      <p:sp>
        <p:nvSpPr>
          <p:cNvPr id="19459" name="Rectangle 51"/>
          <p:cNvSpPr>
            <a:spLocks noChangeArrowheads="1"/>
          </p:cNvSpPr>
          <p:nvPr/>
        </p:nvSpPr>
        <p:spPr bwMode="auto">
          <a:xfrm>
            <a:off x="533400" y="3263900"/>
            <a:ext cx="2057400" cy="1701800"/>
          </a:xfrm>
          <a:prstGeom prst="rect">
            <a:avLst/>
          </a:prstGeom>
          <a:noFill/>
          <a:ln w="9525">
            <a:noFill/>
            <a:miter lim="800000"/>
            <a:headEnd/>
            <a:tailEnd/>
          </a:ln>
        </p:spPr>
        <p:txBody>
          <a:bodyPr/>
          <a:lstStyle/>
          <a:p>
            <a:pPr marL="168275" indent="-168275">
              <a:lnSpc>
                <a:spcPct val="95000"/>
              </a:lnSpc>
              <a:spcBef>
                <a:spcPct val="15000"/>
              </a:spcBef>
              <a:buClr>
                <a:srgbClr val="000000"/>
              </a:buClr>
              <a:buFont typeface="Wingdings" pitchFamily="2" charset="2"/>
              <a:buChar char="§"/>
            </a:pPr>
            <a:r>
              <a:rPr lang="en-US" sz="1000">
                <a:solidFill>
                  <a:srgbClr val="000000"/>
                </a:solidFill>
              </a:rPr>
              <a:t>Conduct kick off meeting</a:t>
            </a:r>
          </a:p>
          <a:p>
            <a:pPr marL="168275" indent="-168275">
              <a:lnSpc>
                <a:spcPct val="95000"/>
              </a:lnSpc>
              <a:spcBef>
                <a:spcPct val="15000"/>
              </a:spcBef>
              <a:buClr>
                <a:srgbClr val="000000"/>
              </a:buClr>
              <a:buFont typeface="Wingdings" pitchFamily="2" charset="2"/>
              <a:buChar char="§"/>
            </a:pPr>
            <a:r>
              <a:rPr lang="en-US" sz="1000">
                <a:solidFill>
                  <a:srgbClr val="000000"/>
                </a:solidFill>
              </a:rPr>
              <a:t>Participate in section site visit</a:t>
            </a:r>
          </a:p>
          <a:p>
            <a:pPr marL="168275" indent="-168275">
              <a:lnSpc>
                <a:spcPct val="95000"/>
              </a:lnSpc>
              <a:spcBef>
                <a:spcPct val="15000"/>
              </a:spcBef>
              <a:buClr>
                <a:srgbClr val="000000"/>
              </a:buClr>
              <a:buFont typeface="Wingdings" pitchFamily="2" charset="2"/>
              <a:buChar char="§"/>
            </a:pPr>
            <a:r>
              <a:rPr lang="en-US" sz="1000">
                <a:solidFill>
                  <a:srgbClr val="000000"/>
                </a:solidFill>
              </a:rPr>
              <a:t>Learn ALCS priorities, including 7 proposed projects</a:t>
            </a:r>
          </a:p>
          <a:p>
            <a:pPr marL="168275" indent="-168275">
              <a:lnSpc>
                <a:spcPct val="95000"/>
              </a:lnSpc>
              <a:spcBef>
                <a:spcPct val="15000"/>
              </a:spcBef>
              <a:buClr>
                <a:srgbClr val="000000"/>
              </a:buClr>
              <a:buFont typeface="Wingdings" pitchFamily="2" charset="2"/>
              <a:buChar char="§"/>
            </a:pPr>
            <a:r>
              <a:rPr lang="en-US" sz="1000">
                <a:solidFill>
                  <a:srgbClr val="000000"/>
                </a:solidFill>
              </a:rPr>
              <a:t>Finalize scope, approach deliverables</a:t>
            </a:r>
          </a:p>
          <a:p>
            <a:pPr marL="168275" indent="-168275">
              <a:lnSpc>
                <a:spcPct val="95000"/>
              </a:lnSpc>
              <a:spcBef>
                <a:spcPct val="15000"/>
              </a:spcBef>
              <a:buClr>
                <a:srgbClr val="000000"/>
              </a:buClr>
              <a:buFont typeface="Wingdings" pitchFamily="2" charset="2"/>
              <a:buChar char="§"/>
            </a:pPr>
            <a:r>
              <a:rPr lang="en-US" sz="1000">
                <a:solidFill>
                  <a:srgbClr val="000000"/>
                </a:solidFill>
              </a:rPr>
              <a:t>Define communications method and meeting schedule</a:t>
            </a:r>
          </a:p>
          <a:p>
            <a:pPr marL="168275" indent="-168275">
              <a:lnSpc>
                <a:spcPct val="95000"/>
              </a:lnSpc>
              <a:spcBef>
                <a:spcPct val="15000"/>
              </a:spcBef>
              <a:buClr>
                <a:srgbClr val="000000"/>
              </a:buClr>
              <a:buFont typeface="Wingdings" pitchFamily="2" charset="2"/>
              <a:buNone/>
            </a:pPr>
            <a:endParaRPr lang="en-US" sz="1000">
              <a:solidFill>
                <a:srgbClr val="000000"/>
              </a:solidFill>
            </a:endParaRPr>
          </a:p>
        </p:txBody>
      </p:sp>
      <p:sp>
        <p:nvSpPr>
          <p:cNvPr id="19460" name="TextBox 20"/>
          <p:cNvSpPr txBox="1">
            <a:spLocks noChangeArrowheads="1"/>
          </p:cNvSpPr>
          <p:nvPr/>
        </p:nvSpPr>
        <p:spPr bwMode="auto">
          <a:xfrm>
            <a:off x="200025" y="2984500"/>
            <a:ext cx="866775" cy="276225"/>
          </a:xfrm>
          <a:prstGeom prst="rect">
            <a:avLst/>
          </a:prstGeom>
          <a:noFill/>
          <a:ln w="9525">
            <a:noFill/>
            <a:miter lim="800000"/>
            <a:headEnd/>
            <a:tailEnd/>
          </a:ln>
        </p:spPr>
        <p:txBody>
          <a:bodyPr wrap="none">
            <a:spAutoFit/>
          </a:bodyPr>
          <a:lstStyle/>
          <a:p>
            <a:r>
              <a:rPr lang="en-US" sz="1200" b="1"/>
              <a:t>Activities</a:t>
            </a:r>
          </a:p>
        </p:txBody>
      </p:sp>
      <p:sp>
        <p:nvSpPr>
          <p:cNvPr id="19461" name="TextBox 21"/>
          <p:cNvSpPr txBox="1">
            <a:spLocks noChangeArrowheads="1"/>
          </p:cNvSpPr>
          <p:nvPr/>
        </p:nvSpPr>
        <p:spPr bwMode="auto">
          <a:xfrm>
            <a:off x="228600" y="4660900"/>
            <a:ext cx="1089025" cy="276225"/>
          </a:xfrm>
          <a:prstGeom prst="rect">
            <a:avLst/>
          </a:prstGeom>
          <a:noFill/>
          <a:ln w="9525">
            <a:noFill/>
            <a:miter lim="800000"/>
            <a:headEnd/>
            <a:tailEnd/>
          </a:ln>
        </p:spPr>
        <p:txBody>
          <a:bodyPr wrap="none">
            <a:spAutoFit/>
          </a:bodyPr>
          <a:lstStyle/>
          <a:p>
            <a:r>
              <a:rPr lang="en-US" sz="1200" b="1"/>
              <a:t>Deliverables</a:t>
            </a:r>
          </a:p>
        </p:txBody>
      </p:sp>
      <p:sp>
        <p:nvSpPr>
          <p:cNvPr id="19462" name="TextBox 22"/>
          <p:cNvSpPr txBox="1">
            <a:spLocks noChangeArrowheads="1"/>
          </p:cNvSpPr>
          <p:nvPr/>
        </p:nvSpPr>
        <p:spPr bwMode="auto">
          <a:xfrm>
            <a:off x="228600" y="5851525"/>
            <a:ext cx="541338" cy="277813"/>
          </a:xfrm>
          <a:prstGeom prst="rect">
            <a:avLst/>
          </a:prstGeom>
          <a:noFill/>
          <a:ln w="9525">
            <a:noFill/>
            <a:miter lim="800000"/>
            <a:headEnd/>
            <a:tailEnd/>
          </a:ln>
        </p:spPr>
        <p:txBody>
          <a:bodyPr wrap="none">
            <a:spAutoFit/>
          </a:bodyPr>
          <a:lstStyle/>
          <a:p>
            <a:r>
              <a:rPr lang="en-US" sz="1200" b="1"/>
              <a:t>Time</a:t>
            </a:r>
          </a:p>
        </p:txBody>
      </p:sp>
      <p:sp>
        <p:nvSpPr>
          <p:cNvPr id="19463" name="Rectangle 23"/>
          <p:cNvSpPr>
            <a:spLocks noChangeArrowheads="1"/>
          </p:cNvSpPr>
          <p:nvPr/>
        </p:nvSpPr>
        <p:spPr bwMode="auto">
          <a:xfrm>
            <a:off x="2667000" y="3263900"/>
            <a:ext cx="1981200" cy="1458913"/>
          </a:xfrm>
          <a:prstGeom prst="rect">
            <a:avLst/>
          </a:prstGeom>
          <a:noFill/>
          <a:ln w="9525">
            <a:noFill/>
            <a:miter lim="800000"/>
            <a:headEnd/>
            <a:tailEnd/>
          </a:ln>
        </p:spPr>
        <p:txBody>
          <a:bodyPr>
            <a:spAutoFit/>
          </a:bodyPr>
          <a:lstStyle/>
          <a:p>
            <a:pPr marL="168275" indent="-168275">
              <a:lnSpc>
                <a:spcPct val="95000"/>
              </a:lnSpc>
              <a:spcBef>
                <a:spcPct val="15000"/>
              </a:spcBef>
              <a:buClr>
                <a:srgbClr val="000000"/>
              </a:buClr>
              <a:buFont typeface="Wingdings" pitchFamily="2" charset="2"/>
              <a:buChar char="§"/>
            </a:pPr>
            <a:r>
              <a:rPr lang="en-US" sz="1000">
                <a:solidFill>
                  <a:srgbClr val="000000"/>
                </a:solidFill>
              </a:rPr>
              <a:t>Conduct 1-on-1 ALCS  interviews to understand projects, budget approvals, payment processing and operational reporting</a:t>
            </a:r>
          </a:p>
          <a:p>
            <a:pPr marL="168275" indent="-168275">
              <a:lnSpc>
                <a:spcPct val="95000"/>
              </a:lnSpc>
              <a:spcBef>
                <a:spcPct val="15000"/>
              </a:spcBef>
              <a:buClr>
                <a:srgbClr val="000000"/>
              </a:buClr>
              <a:buFont typeface="Wingdings" pitchFamily="2" charset="2"/>
              <a:buChar char="§"/>
            </a:pPr>
            <a:r>
              <a:rPr lang="en-US" sz="1000">
                <a:solidFill>
                  <a:srgbClr val="000000"/>
                </a:solidFill>
              </a:rPr>
              <a:t>Assess headquarters IT/ telelphony infrastructure</a:t>
            </a:r>
          </a:p>
          <a:p>
            <a:pPr marL="168275" indent="-168275">
              <a:lnSpc>
                <a:spcPct val="95000"/>
              </a:lnSpc>
              <a:spcBef>
                <a:spcPct val="15000"/>
              </a:spcBef>
              <a:buClr>
                <a:srgbClr val="000000"/>
              </a:buClr>
              <a:buFont typeface="Wingdings" pitchFamily="2" charset="2"/>
              <a:buChar char="§"/>
            </a:pPr>
            <a:r>
              <a:rPr lang="en-US" sz="1000">
                <a:solidFill>
                  <a:srgbClr val="000000"/>
                </a:solidFill>
              </a:rPr>
              <a:t>Capture /categorize findings</a:t>
            </a:r>
          </a:p>
          <a:p>
            <a:pPr marL="168275" indent="-168275">
              <a:lnSpc>
                <a:spcPct val="95000"/>
              </a:lnSpc>
              <a:spcBef>
                <a:spcPct val="15000"/>
              </a:spcBef>
              <a:buClr>
                <a:srgbClr val="000000"/>
              </a:buClr>
              <a:buFont typeface="Wingdings" pitchFamily="2" charset="2"/>
              <a:buChar char="§"/>
            </a:pPr>
            <a:endParaRPr lang="en-US" sz="1000">
              <a:solidFill>
                <a:srgbClr val="000000"/>
              </a:solidFill>
            </a:endParaRPr>
          </a:p>
        </p:txBody>
      </p:sp>
      <p:sp>
        <p:nvSpPr>
          <p:cNvPr id="19464" name="Rectangle 3"/>
          <p:cNvSpPr>
            <a:spLocks noChangeArrowheads="1"/>
          </p:cNvSpPr>
          <p:nvPr/>
        </p:nvSpPr>
        <p:spPr bwMode="auto">
          <a:xfrm>
            <a:off x="563563" y="2022475"/>
            <a:ext cx="1658937" cy="895350"/>
          </a:xfrm>
          <a:prstGeom prst="rect">
            <a:avLst/>
          </a:prstGeom>
          <a:solidFill>
            <a:schemeClr val="bg1"/>
          </a:solidFill>
          <a:ln w="28575">
            <a:solidFill>
              <a:schemeClr val="bg2"/>
            </a:solidFill>
            <a:miter lim="800000"/>
            <a:headEnd/>
            <a:tailEnd/>
          </a:ln>
        </p:spPr>
        <p:txBody>
          <a:bodyPr tIns="92075" bIns="92075" anchor="ctr" anchorCtr="1"/>
          <a:lstStyle/>
          <a:p>
            <a:pPr eaLnBrk="0" hangingPunct="0"/>
            <a:r>
              <a:rPr lang="en-US" sz="1400" b="1">
                <a:solidFill>
                  <a:schemeClr val="accent1"/>
                </a:solidFill>
              </a:rPr>
              <a:t>Initiate project</a:t>
            </a:r>
          </a:p>
        </p:txBody>
      </p:sp>
      <p:sp>
        <p:nvSpPr>
          <p:cNvPr id="19465" name="Rectangle 4"/>
          <p:cNvSpPr>
            <a:spLocks noChangeArrowheads="1"/>
          </p:cNvSpPr>
          <p:nvPr/>
        </p:nvSpPr>
        <p:spPr bwMode="auto">
          <a:xfrm>
            <a:off x="2684463" y="2022475"/>
            <a:ext cx="1658937" cy="895350"/>
          </a:xfrm>
          <a:prstGeom prst="rect">
            <a:avLst/>
          </a:prstGeom>
          <a:solidFill>
            <a:schemeClr val="bg1"/>
          </a:solidFill>
          <a:ln w="28575">
            <a:solidFill>
              <a:schemeClr val="bg2"/>
            </a:solidFill>
            <a:miter lim="800000"/>
            <a:headEnd/>
            <a:tailEnd/>
          </a:ln>
        </p:spPr>
        <p:txBody>
          <a:bodyPr tIns="92075" bIns="92075" anchor="ctr" anchorCtr="1"/>
          <a:lstStyle/>
          <a:p>
            <a:pPr eaLnBrk="0" hangingPunct="0"/>
            <a:r>
              <a:rPr lang="en-US" sz="1400" b="1">
                <a:solidFill>
                  <a:schemeClr val="accent1"/>
                </a:solidFill>
              </a:rPr>
              <a:t>Gather Requirements</a:t>
            </a:r>
          </a:p>
        </p:txBody>
      </p:sp>
      <p:sp>
        <p:nvSpPr>
          <p:cNvPr id="19466" name="Rectangle 5"/>
          <p:cNvSpPr>
            <a:spLocks noChangeArrowheads="1"/>
          </p:cNvSpPr>
          <p:nvPr/>
        </p:nvSpPr>
        <p:spPr bwMode="auto">
          <a:xfrm>
            <a:off x="4805363" y="2022475"/>
            <a:ext cx="1658937" cy="895350"/>
          </a:xfrm>
          <a:prstGeom prst="rect">
            <a:avLst/>
          </a:prstGeom>
          <a:solidFill>
            <a:schemeClr val="bg1"/>
          </a:solidFill>
          <a:ln w="28575">
            <a:solidFill>
              <a:schemeClr val="bg2"/>
            </a:solidFill>
            <a:miter lim="800000"/>
            <a:headEnd/>
            <a:tailEnd/>
          </a:ln>
        </p:spPr>
        <p:txBody>
          <a:bodyPr tIns="92075" bIns="92075" anchor="ctr" anchorCtr="1"/>
          <a:lstStyle/>
          <a:p>
            <a:pPr eaLnBrk="0" hangingPunct="0"/>
            <a:r>
              <a:rPr lang="en-US" sz="1400" b="1">
                <a:solidFill>
                  <a:schemeClr val="accent1"/>
                </a:solidFill>
              </a:rPr>
              <a:t>Draft Information Management Approach </a:t>
            </a:r>
          </a:p>
        </p:txBody>
      </p:sp>
      <p:sp>
        <p:nvSpPr>
          <p:cNvPr id="19467" name="Rectangle 6"/>
          <p:cNvSpPr>
            <a:spLocks noChangeArrowheads="1"/>
          </p:cNvSpPr>
          <p:nvPr/>
        </p:nvSpPr>
        <p:spPr bwMode="auto">
          <a:xfrm>
            <a:off x="6927850" y="2022475"/>
            <a:ext cx="1758950" cy="895350"/>
          </a:xfrm>
          <a:prstGeom prst="rect">
            <a:avLst/>
          </a:prstGeom>
          <a:solidFill>
            <a:schemeClr val="bg1"/>
          </a:solidFill>
          <a:ln w="28575">
            <a:solidFill>
              <a:schemeClr val="bg2"/>
            </a:solidFill>
            <a:miter lim="800000"/>
            <a:headEnd/>
            <a:tailEnd/>
          </a:ln>
        </p:spPr>
        <p:txBody>
          <a:bodyPr tIns="92075" bIns="92075" anchor="ctr" anchorCtr="1"/>
          <a:lstStyle/>
          <a:p>
            <a:pPr eaLnBrk="0" hangingPunct="0"/>
            <a:r>
              <a:rPr lang="en-US" sz="1400" b="1">
                <a:solidFill>
                  <a:schemeClr val="accent1"/>
                </a:solidFill>
              </a:rPr>
              <a:t>Develop Logical Database Design  </a:t>
            </a:r>
          </a:p>
        </p:txBody>
      </p:sp>
      <p:cxnSp>
        <p:nvCxnSpPr>
          <p:cNvPr id="19468" name="AutoShape 7"/>
          <p:cNvCxnSpPr>
            <a:cxnSpLocks noChangeShapeType="1"/>
          </p:cNvCxnSpPr>
          <p:nvPr/>
        </p:nvCxnSpPr>
        <p:spPr bwMode="auto">
          <a:xfrm>
            <a:off x="2236788" y="2451100"/>
            <a:ext cx="433387" cy="0"/>
          </a:xfrm>
          <a:prstGeom prst="straightConnector1">
            <a:avLst/>
          </a:prstGeom>
          <a:noFill/>
          <a:ln w="28575">
            <a:solidFill>
              <a:schemeClr val="bg2"/>
            </a:solidFill>
            <a:round/>
            <a:headEnd/>
            <a:tailEnd type="triangle" w="med" len="med"/>
          </a:ln>
        </p:spPr>
      </p:cxnSp>
      <p:cxnSp>
        <p:nvCxnSpPr>
          <p:cNvPr id="19469" name="AutoShape 8"/>
          <p:cNvCxnSpPr>
            <a:cxnSpLocks noChangeShapeType="1"/>
          </p:cNvCxnSpPr>
          <p:nvPr/>
        </p:nvCxnSpPr>
        <p:spPr bwMode="auto">
          <a:xfrm>
            <a:off x="4357688" y="2451100"/>
            <a:ext cx="433387" cy="0"/>
          </a:xfrm>
          <a:prstGeom prst="straightConnector1">
            <a:avLst/>
          </a:prstGeom>
          <a:noFill/>
          <a:ln w="28575">
            <a:solidFill>
              <a:schemeClr val="bg2"/>
            </a:solidFill>
            <a:round/>
            <a:headEnd/>
            <a:tailEnd type="triangle" w="med" len="med"/>
          </a:ln>
        </p:spPr>
      </p:cxnSp>
      <p:cxnSp>
        <p:nvCxnSpPr>
          <p:cNvPr id="19470" name="AutoShape 9"/>
          <p:cNvCxnSpPr>
            <a:cxnSpLocks noChangeShapeType="1"/>
            <a:stCxn id="19466" idx="3"/>
            <a:endCxn id="19467" idx="1"/>
          </p:cNvCxnSpPr>
          <p:nvPr/>
        </p:nvCxnSpPr>
        <p:spPr bwMode="auto">
          <a:xfrm>
            <a:off x="6464300" y="2470150"/>
            <a:ext cx="463550" cy="1588"/>
          </a:xfrm>
          <a:prstGeom prst="straightConnector1">
            <a:avLst/>
          </a:prstGeom>
          <a:noFill/>
          <a:ln w="28575">
            <a:solidFill>
              <a:schemeClr val="bg2"/>
            </a:solidFill>
            <a:round/>
            <a:headEnd/>
            <a:tailEnd type="triangle" w="med" len="med"/>
          </a:ln>
        </p:spPr>
      </p:cxnSp>
      <p:sp>
        <p:nvSpPr>
          <p:cNvPr id="19471" name="Text Box 17"/>
          <p:cNvSpPr txBox="1">
            <a:spLocks noChangeArrowheads="1"/>
          </p:cNvSpPr>
          <p:nvPr/>
        </p:nvSpPr>
        <p:spPr bwMode="auto">
          <a:xfrm>
            <a:off x="427038" y="1384300"/>
            <a:ext cx="8272462" cy="517525"/>
          </a:xfrm>
          <a:prstGeom prst="rect">
            <a:avLst/>
          </a:prstGeom>
          <a:noFill/>
          <a:ln w="9525">
            <a:noFill/>
            <a:miter lim="800000"/>
            <a:headEnd/>
            <a:tailEnd/>
          </a:ln>
        </p:spPr>
        <p:txBody>
          <a:bodyPr anchor="ctr">
            <a:spAutoFit/>
          </a:bodyPr>
          <a:lstStyle/>
          <a:p>
            <a:pPr algn="ctr" eaLnBrk="0" hangingPunct="0"/>
            <a:r>
              <a:rPr lang="en-US" altLang="en-US" sz="1400" b="1">
                <a:solidFill>
                  <a:srgbClr val="7889FB"/>
                </a:solidFill>
              </a:rPr>
              <a:t>ALCS IT Solutions Design: Statement of Work</a:t>
            </a:r>
          </a:p>
          <a:p>
            <a:pPr algn="ctr" eaLnBrk="0" hangingPunct="0"/>
            <a:r>
              <a:rPr lang="en-US" altLang="en-US" sz="1400" i="1">
                <a:solidFill>
                  <a:srgbClr val="7889FB"/>
                </a:solidFill>
              </a:rPr>
              <a:t>April 28 – May 23</a:t>
            </a:r>
            <a:endParaRPr lang="en-US" altLang="en-US" sz="1400" b="1">
              <a:solidFill>
                <a:srgbClr val="7889FB"/>
              </a:solidFill>
            </a:endParaRPr>
          </a:p>
        </p:txBody>
      </p:sp>
      <p:sp>
        <p:nvSpPr>
          <p:cNvPr id="19472" name="Rectangle 51"/>
          <p:cNvSpPr>
            <a:spLocks noChangeArrowheads="1"/>
          </p:cNvSpPr>
          <p:nvPr/>
        </p:nvSpPr>
        <p:spPr bwMode="auto">
          <a:xfrm>
            <a:off x="4724400" y="3267075"/>
            <a:ext cx="2057400" cy="1701800"/>
          </a:xfrm>
          <a:prstGeom prst="rect">
            <a:avLst/>
          </a:prstGeom>
          <a:noFill/>
          <a:ln w="9525">
            <a:noFill/>
            <a:miter lim="800000"/>
            <a:headEnd/>
            <a:tailEnd/>
          </a:ln>
        </p:spPr>
        <p:txBody>
          <a:bodyPr/>
          <a:lstStyle/>
          <a:p>
            <a:pPr marL="168275" indent="-168275">
              <a:lnSpc>
                <a:spcPct val="95000"/>
              </a:lnSpc>
              <a:spcBef>
                <a:spcPct val="15000"/>
              </a:spcBef>
              <a:buClr>
                <a:srgbClr val="000000"/>
              </a:buClr>
              <a:buFont typeface="Wingdings" pitchFamily="2" charset="2"/>
              <a:buChar char="§"/>
            </a:pPr>
            <a:r>
              <a:rPr lang="en-US" sz="1000">
                <a:solidFill>
                  <a:srgbClr val="000000"/>
                </a:solidFill>
              </a:rPr>
              <a:t>Develop information model for finance, administration and operational activities</a:t>
            </a:r>
          </a:p>
          <a:p>
            <a:pPr marL="168275" indent="-168275">
              <a:lnSpc>
                <a:spcPct val="95000"/>
              </a:lnSpc>
              <a:spcBef>
                <a:spcPct val="15000"/>
              </a:spcBef>
              <a:buClr>
                <a:srgbClr val="000000"/>
              </a:buClr>
              <a:buFont typeface="Wingdings" pitchFamily="2" charset="2"/>
              <a:buChar char="§"/>
            </a:pPr>
            <a:r>
              <a:rPr lang="en-US" sz="1000">
                <a:solidFill>
                  <a:srgbClr val="000000"/>
                </a:solidFill>
              </a:rPr>
              <a:t>Determine ALCS project dependencies, constraints and assumptions</a:t>
            </a:r>
          </a:p>
          <a:p>
            <a:pPr marL="168275" indent="-168275">
              <a:lnSpc>
                <a:spcPct val="95000"/>
              </a:lnSpc>
              <a:spcBef>
                <a:spcPct val="15000"/>
              </a:spcBef>
              <a:buClr>
                <a:srgbClr val="000000"/>
              </a:buClr>
              <a:buFont typeface="Wingdings" pitchFamily="2" charset="2"/>
              <a:buChar char="§"/>
            </a:pPr>
            <a:r>
              <a:rPr lang="en-US" sz="1000">
                <a:solidFill>
                  <a:srgbClr val="000000"/>
                </a:solidFill>
              </a:rPr>
              <a:t>Define and validate key information entities and data relationships  </a:t>
            </a:r>
            <a:endParaRPr lang="en-US" sz="1100"/>
          </a:p>
        </p:txBody>
      </p:sp>
      <p:sp>
        <p:nvSpPr>
          <p:cNvPr id="19473" name="Rectangle 34"/>
          <p:cNvSpPr>
            <a:spLocks noChangeArrowheads="1"/>
          </p:cNvSpPr>
          <p:nvPr/>
        </p:nvSpPr>
        <p:spPr bwMode="auto">
          <a:xfrm>
            <a:off x="6858000" y="3267075"/>
            <a:ext cx="1828800" cy="1625600"/>
          </a:xfrm>
          <a:prstGeom prst="rect">
            <a:avLst/>
          </a:prstGeom>
          <a:noFill/>
          <a:ln w="9525">
            <a:noFill/>
            <a:miter lim="800000"/>
            <a:headEnd/>
            <a:tailEnd/>
          </a:ln>
        </p:spPr>
        <p:txBody>
          <a:bodyPr>
            <a:spAutoFit/>
          </a:bodyPr>
          <a:lstStyle/>
          <a:p>
            <a:pPr marL="168275" indent="-168275">
              <a:lnSpc>
                <a:spcPct val="95000"/>
              </a:lnSpc>
              <a:spcBef>
                <a:spcPct val="15000"/>
              </a:spcBef>
              <a:buClr>
                <a:schemeClr val="tx2"/>
              </a:buClr>
              <a:buFont typeface="Wingdings" pitchFamily="2" charset="2"/>
              <a:buChar char="§"/>
            </a:pPr>
            <a:r>
              <a:rPr lang="en-US" sz="1000"/>
              <a:t>Develop logical design, documenting  technical, functional, and non-functional requirements </a:t>
            </a:r>
          </a:p>
          <a:p>
            <a:pPr marL="168275" indent="-168275">
              <a:lnSpc>
                <a:spcPct val="95000"/>
              </a:lnSpc>
              <a:spcBef>
                <a:spcPct val="15000"/>
              </a:spcBef>
              <a:buClr>
                <a:schemeClr val="tx2"/>
              </a:buClr>
              <a:buFont typeface="Wingdings" pitchFamily="2" charset="2"/>
              <a:buChar char="§"/>
            </a:pPr>
            <a:r>
              <a:rPr lang="en-US" sz="1000"/>
              <a:t>Document user interface and reporting preferences</a:t>
            </a:r>
          </a:p>
          <a:p>
            <a:pPr marL="168275" indent="-168275">
              <a:lnSpc>
                <a:spcPct val="95000"/>
              </a:lnSpc>
              <a:spcBef>
                <a:spcPct val="15000"/>
              </a:spcBef>
              <a:buClr>
                <a:schemeClr val="tx2"/>
              </a:buClr>
              <a:buFont typeface="Wingdings" pitchFamily="2" charset="2"/>
              <a:buChar char="§"/>
            </a:pPr>
            <a:r>
              <a:rPr lang="en-US" sz="1000"/>
              <a:t>Draft SOW for systems developer</a:t>
            </a:r>
          </a:p>
          <a:p>
            <a:pPr marL="168275" indent="-168275">
              <a:lnSpc>
                <a:spcPct val="95000"/>
              </a:lnSpc>
              <a:spcBef>
                <a:spcPct val="15000"/>
              </a:spcBef>
              <a:buClr>
                <a:schemeClr val="tx2"/>
              </a:buClr>
              <a:buFont typeface="Wingdings" pitchFamily="2" charset="2"/>
              <a:buNone/>
            </a:pPr>
            <a:endParaRPr lang="en-US" sz="1000"/>
          </a:p>
          <a:p>
            <a:pPr marL="168275" indent="-168275">
              <a:lnSpc>
                <a:spcPct val="95000"/>
              </a:lnSpc>
              <a:spcBef>
                <a:spcPct val="15000"/>
              </a:spcBef>
              <a:buClr>
                <a:schemeClr val="tx2"/>
              </a:buClr>
              <a:buFont typeface="Wingdings" pitchFamily="2" charset="2"/>
              <a:buChar char="§"/>
            </a:pPr>
            <a:endParaRPr lang="en-US" sz="1000"/>
          </a:p>
        </p:txBody>
      </p:sp>
      <p:sp>
        <p:nvSpPr>
          <p:cNvPr id="19474" name="Rectangle 51"/>
          <p:cNvSpPr>
            <a:spLocks noChangeArrowheads="1"/>
          </p:cNvSpPr>
          <p:nvPr/>
        </p:nvSpPr>
        <p:spPr bwMode="auto">
          <a:xfrm>
            <a:off x="533400" y="4933950"/>
            <a:ext cx="2057400" cy="1701800"/>
          </a:xfrm>
          <a:prstGeom prst="rect">
            <a:avLst/>
          </a:prstGeom>
          <a:noFill/>
          <a:ln w="9525">
            <a:noFill/>
            <a:miter lim="800000"/>
            <a:headEnd/>
            <a:tailEnd/>
          </a:ln>
        </p:spPr>
        <p:txBody>
          <a:bodyPr/>
          <a:lstStyle/>
          <a:p>
            <a:pPr marL="168275" indent="-168275">
              <a:lnSpc>
                <a:spcPct val="95000"/>
              </a:lnSpc>
              <a:spcBef>
                <a:spcPct val="15000"/>
              </a:spcBef>
              <a:buClr>
                <a:srgbClr val="000000"/>
              </a:buClr>
              <a:buFont typeface="Wingdings" pitchFamily="2" charset="2"/>
              <a:buChar char="§"/>
            </a:pPr>
            <a:r>
              <a:rPr lang="en-US" sz="1000">
                <a:solidFill>
                  <a:srgbClr val="000000"/>
                </a:solidFill>
              </a:rPr>
              <a:t>Revised SOW / project deliverables</a:t>
            </a:r>
          </a:p>
          <a:p>
            <a:pPr marL="168275" indent="-168275">
              <a:lnSpc>
                <a:spcPct val="95000"/>
              </a:lnSpc>
              <a:spcBef>
                <a:spcPct val="15000"/>
              </a:spcBef>
              <a:buClr>
                <a:srgbClr val="000000"/>
              </a:buClr>
              <a:buFont typeface="Wingdings" pitchFamily="2" charset="2"/>
              <a:buChar char="§"/>
            </a:pPr>
            <a:r>
              <a:rPr lang="en-US" sz="1000">
                <a:solidFill>
                  <a:srgbClr val="000000"/>
                </a:solidFill>
              </a:rPr>
              <a:t>High level approach to delivering recommendations for 7 propose projects </a:t>
            </a:r>
            <a:endParaRPr lang="en-US" sz="1100"/>
          </a:p>
        </p:txBody>
      </p:sp>
      <p:sp>
        <p:nvSpPr>
          <p:cNvPr id="19475" name="Rectangle 36"/>
          <p:cNvSpPr>
            <a:spLocks noChangeArrowheads="1"/>
          </p:cNvSpPr>
          <p:nvPr/>
        </p:nvSpPr>
        <p:spPr bwMode="auto">
          <a:xfrm>
            <a:off x="2667000" y="4933950"/>
            <a:ext cx="1981200" cy="1025525"/>
          </a:xfrm>
          <a:prstGeom prst="rect">
            <a:avLst/>
          </a:prstGeom>
          <a:noFill/>
          <a:ln w="9525">
            <a:noFill/>
            <a:miter lim="800000"/>
            <a:headEnd/>
            <a:tailEnd/>
          </a:ln>
        </p:spPr>
        <p:txBody>
          <a:bodyPr>
            <a:spAutoFit/>
          </a:bodyPr>
          <a:lstStyle/>
          <a:p>
            <a:pPr marL="168275" indent="-168275">
              <a:lnSpc>
                <a:spcPct val="95000"/>
              </a:lnSpc>
              <a:spcBef>
                <a:spcPct val="15000"/>
              </a:spcBef>
              <a:buClr>
                <a:srgbClr val="000000"/>
              </a:buClr>
              <a:buFont typeface="Wingdings" pitchFamily="2" charset="2"/>
              <a:buChar char="§"/>
            </a:pPr>
            <a:r>
              <a:rPr lang="en-US" sz="1000">
                <a:solidFill>
                  <a:srgbClr val="000000"/>
                </a:solidFill>
              </a:rPr>
              <a:t>SWOT Analysis</a:t>
            </a:r>
          </a:p>
          <a:p>
            <a:pPr marL="168275" indent="-168275">
              <a:lnSpc>
                <a:spcPct val="95000"/>
              </a:lnSpc>
              <a:spcBef>
                <a:spcPct val="15000"/>
              </a:spcBef>
              <a:buClr>
                <a:srgbClr val="000000"/>
              </a:buClr>
              <a:buFont typeface="Wingdings" pitchFamily="2" charset="2"/>
              <a:buChar char="§"/>
            </a:pPr>
            <a:r>
              <a:rPr lang="en-US" sz="1000">
                <a:solidFill>
                  <a:srgbClr val="000000"/>
                </a:solidFill>
              </a:rPr>
              <a:t>Synthesis of our understanding of current challenges &amp; issues  </a:t>
            </a:r>
          </a:p>
          <a:p>
            <a:pPr marL="168275" indent="-168275">
              <a:lnSpc>
                <a:spcPct val="95000"/>
              </a:lnSpc>
              <a:spcBef>
                <a:spcPct val="15000"/>
              </a:spcBef>
              <a:buClr>
                <a:srgbClr val="000000"/>
              </a:buClr>
              <a:buFont typeface="Wingdings" pitchFamily="2" charset="2"/>
              <a:buChar char="§"/>
            </a:pPr>
            <a:r>
              <a:rPr lang="en-US" sz="1000">
                <a:solidFill>
                  <a:srgbClr val="000000"/>
                </a:solidFill>
              </a:rPr>
              <a:t>IT infrastructure inventory  </a:t>
            </a:r>
          </a:p>
          <a:p>
            <a:pPr marL="168275" indent="-168275">
              <a:lnSpc>
                <a:spcPct val="95000"/>
              </a:lnSpc>
              <a:spcBef>
                <a:spcPct val="15000"/>
              </a:spcBef>
              <a:buClr>
                <a:srgbClr val="000000"/>
              </a:buClr>
              <a:buFont typeface="Wingdings" pitchFamily="2" charset="2"/>
              <a:buNone/>
            </a:pPr>
            <a:r>
              <a:rPr lang="en-US" sz="1000">
                <a:solidFill>
                  <a:srgbClr val="000000"/>
                </a:solidFill>
              </a:rPr>
              <a:t> </a:t>
            </a:r>
          </a:p>
        </p:txBody>
      </p:sp>
      <p:sp>
        <p:nvSpPr>
          <p:cNvPr id="19476" name="Rectangle 51"/>
          <p:cNvSpPr>
            <a:spLocks noChangeArrowheads="1"/>
          </p:cNvSpPr>
          <p:nvPr/>
        </p:nvSpPr>
        <p:spPr bwMode="auto">
          <a:xfrm>
            <a:off x="4724400" y="4940300"/>
            <a:ext cx="2057400" cy="1701800"/>
          </a:xfrm>
          <a:prstGeom prst="rect">
            <a:avLst/>
          </a:prstGeom>
          <a:noFill/>
          <a:ln w="9525">
            <a:noFill/>
            <a:miter lim="800000"/>
            <a:headEnd/>
            <a:tailEnd/>
          </a:ln>
        </p:spPr>
        <p:txBody>
          <a:bodyPr/>
          <a:lstStyle/>
          <a:p>
            <a:pPr marL="168275" indent="-168275">
              <a:lnSpc>
                <a:spcPct val="95000"/>
              </a:lnSpc>
              <a:spcBef>
                <a:spcPct val="15000"/>
              </a:spcBef>
              <a:buClr>
                <a:srgbClr val="000000"/>
              </a:buClr>
              <a:buFont typeface="Wingdings" pitchFamily="2" charset="2"/>
              <a:buChar char="§"/>
            </a:pPr>
            <a:r>
              <a:rPr lang="en-US" sz="1000">
                <a:solidFill>
                  <a:srgbClr val="000000"/>
                </a:solidFill>
              </a:rPr>
              <a:t>Application workflow model</a:t>
            </a:r>
          </a:p>
          <a:p>
            <a:pPr marL="168275" indent="-168275">
              <a:lnSpc>
                <a:spcPct val="95000"/>
              </a:lnSpc>
              <a:spcBef>
                <a:spcPct val="15000"/>
              </a:spcBef>
              <a:buClr>
                <a:srgbClr val="000000"/>
              </a:buClr>
              <a:buFont typeface="Wingdings" pitchFamily="2" charset="2"/>
              <a:buChar char="§"/>
            </a:pPr>
            <a:r>
              <a:rPr lang="en-US" sz="1000">
                <a:solidFill>
                  <a:srgbClr val="000000"/>
                </a:solidFill>
              </a:rPr>
              <a:t>Documented requirements for application and database configuration</a:t>
            </a:r>
          </a:p>
          <a:p>
            <a:pPr marL="168275" indent="-168275">
              <a:lnSpc>
                <a:spcPct val="95000"/>
              </a:lnSpc>
              <a:spcBef>
                <a:spcPct val="15000"/>
              </a:spcBef>
              <a:buClr>
                <a:srgbClr val="000000"/>
              </a:buClr>
              <a:buFont typeface="Wingdings" pitchFamily="2" charset="2"/>
              <a:buChar char="§"/>
            </a:pPr>
            <a:r>
              <a:rPr lang="en-US" sz="1000">
                <a:solidFill>
                  <a:srgbClr val="000000"/>
                </a:solidFill>
              </a:rPr>
              <a:t>Education and validation session on database design</a:t>
            </a:r>
          </a:p>
          <a:p>
            <a:pPr marL="168275" indent="-168275">
              <a:lnSpc>
                <a:spcPct val="95000"/>
              </a:lnSpc>
              <a:spcBef>
                <a:spcPct val="15000"/>
              </a:spcBef>
              <a:buClr>
                <a:srgbClr val="000000"/>
              </a:buClr>
              <a:buFont typeface="Wingdings" pitchFamily="2" charset="2"/>
              <a:buChar char="§"/>
            </a:pPr>
            <a:endParaRPr lang="en-US" sz="1000">
              <a:solidFill>
                <a:srgbClr val="000000"/>
              </a:solidFill>
            </a:endParaRPr>
          </a:p>
          <a:p>
            <a:pPr marL="168275" indent="-168275">
              <a:lnSpc>
                <a:spcPct val="95000"/>
              </a:lnSpc>
              <a:spcBef>
                <a:spcPct val="15000"/>
              </a:spcBef>
              <a:buClr>
                <a:srgbClr val="000000"/>
              </a:buClr>
              <a:buFont typeface="Wingdings" pitchFamily="2" charset="2"/>
              <a:buChar char="§"/>
            </a:pPr>
            <a:endParaRPr lang="en-US" sz="1100"/>
          </a:p>
        </p:txBody>
      </p:sp>
      <p:sp>
        <p:nvSpPr>
          <p:cNvPr id="19477" name="Rectangle 38"/>
          <p:cNvSpPr>
            <a:spLocks noChangeArrowheads="1"/>
          </p:cNvSpPr>
          <p:nvPr/>
        </p:nvSpPr>
        <p:spPr bwMode="auto">
          <a:xfrm>
            <a:off x="6858000" y="4937125"/>
            <a:ext cx="1828800" cy="1058863"/>
          </a:xfrm>
          <a:prstGeom prst="rect">
            <a:avLst/>
          </a:prstGeom>
          <a:noFill/>
          <a:ln w="9525">
            <a:noFill/>
            <a:miter lim="800000"/>
            <a:headEnd/>
            <a:tailEnd/>
          </a:ln>
        </p:spPr>
        <p:txBody>
          <a:bodyPr>
            <a:spAutoFit/>
          </a:bodyPr>
          <a:lstStyle/>
          <a:p>
            <a:pPr marL="168275" indent="-168275">
              <a:lnSpc>
                <a:spcPct val="95000"/>
              </a:lnSpc>
              <a:spcBef>
                <a:spcPct val="15000"/>
              </a:spcBef>
              <a:buClr>
                <a:schemeClr val="tx2"/>
              </a:buClr>
              <a:buFont typeface="Wingdings" pitchFamily="2" charset="2"/>
              <a:buChar char="§"/>
            </a:pPr>
            <a:r>
              <a:rPr lang="en-US" sz="1000"/>
              <a:t>Logical database design  </a:t>
            </a:r>
          </a:p>
          <a:p>
            <a:pPr marL="168275" indent="-168275">
              <a:lnSpc>
                <a:spcPct val="95000"/>
              </a:lnSpc>
              <a:spcBef>
                <a:spcPct val="15000"/>
              </a:spcBef>
              <a:buClr>
                <a:schemeClr val="tx2"/>
              </a:buClr>
              <a:buFont typeface="Wingdings" pitchFamily="2" charset="2"/>
              <a:buChar char="§"/>
            </a:pPr>
            <a:r>
              <a:rPr lang="en-US" sz="1000"/>
              <a:t>Sample dashboards</a:t>
            </a:r>
          </a:p>
          <a:p>
            <a:pPr marL="168275" indent="-168275">
              <a:lnSpc>
                <a:spcPct val="95000"/>
              </a:lnSpc>
              <a:spcBef>
                <a:spcPct val="15000"/>
              </a:spcBef>
              <a:buClr>
                <a:schemeClr val="tx2"/>
              </a:buClr>
              <a:buFont typeface="Wingdings" pitchFamily="2" charset="2"/>
              <a:buChar char="§"/>
            </a:pPr>
            <a:r>
              <a:rPr lang="en-US" sz="1000"/>
              <a:t>Recommendations for short-term and long-term sustainability</a:t>
            </a:r>
          </a:p>
          <a:p>
            <a:pPr marL="168275" indent="-168275">
              <a:lnSpc>
                <a:spcPct val="95000"/>
              </a:lnSpc>
              <a:spcBef>
                <a:spcPct val="15000"/>
              </a:spcBef>
              <a:buClr>
                <a:schemeClr val="tx2"/>
              </a:buClr>
              <a:buFont typeface="Wingdings" pitchFamily="2" charset="2"/>
              <a:buChar char="§"/>
            </a:pPr>
            <a:endParaRPr lang="en-US" sz="1200">
              <a:solidFill>
                <a:schemeClr val="bg2"/>
              </a:solidFill>
            </a:endParaRPr>
          </a:p>
        </p:txBody>
      </p:sp>
      <p:sp>
        <p:nvSpPr>
          <p:cNvPr id="19478" name="Rectangle 51"/>
          <p:cNvSpPr>
            <a:spLocks noChangeArrowheads="1"/>
          </p:cNvSpPr>
          <p:nvPr/>
        </p:nvSpPr>
        <p:spPr bwMode="auto">
          <a:xfrm>
            <a:off x="533400" y="6327775"/>
            <a:ext cx="2057400" cy="1701800"/>
          </a:xfrm>
          <a:prstGeom prst="rect">
            <a:avLst/>
          </a:prstGeom>
          <a:noFill/>
          <a:ln w="9525">
            <a:noFill/>
            <a:miter lim="800000"/>
            <a:headEnd/>
            <a:tailEnd/>
          </a:ln>
        </p:spPr>
        <p:txBody>
          <a:bodyPr/>
          <a:lstStyle/>
          <a:p>
            <a:pPr marL="168275" indent="-168275">
              <a:lnSpc>
                <a:spcPct val="95000"/>
              </a:lnSpc>
              <a:spcBef>
                <a:spcPct val="15000"/>
              </a:spcBef>
              <a:buClr>
                <a:srgbClr val="000000"/>
              </a:buClr>
              <a:buFont typeface="Wingdings" pitchFamily="2" charset="2"/>
              <a:buChar char="§"/>
            </a:pPr>
            <a:r>
              <a:rPr lang="en-US" sz="1000">
                <a:solidFill>
                  <a:srgbClr val="000000"/>
                </a:solidFill>
              </a:rPr>
              <a:t>3 days </a:t>
            </a:r>
            <a:endParaRPr lang="en-US" sz="1100"/>
          </a:p>
        </p:txBody>
      </p:sp>
      <p:sp>
        <p:nvSpPr>
          <p:cNvPr id="19479" name="Rectangle 40"/>
          <p:cNvSpPr>
            <a:spLocks noChangeArrowheads="1"/>
          </p:cNvSpPr>
          <p:nvPr/>
        </p:nvSpPr>
        <p:spPr bwMode="auto">
          <a:xfrm>
            <a:off x="2667000" y="6327775"/>
            <a:ext cx="1981200" cy="238125"/>
          </a:xfrm>
          <a:prstGeom prst="rect">
            <a:avLst/>
          </a:prstGeom>
          <a:noFill/>
          <a:ln w="9525">
            <a:noFill/>
            <a:miter lim="800000"/>
            <a:headEnd/>
            <a:tailEnd/>
          </a:ln>
        </p:spPr>
        <p:txBody>
          <a:bodyPr>
            <a:spAutoFit/>
          </a:bodyPr>
          <a:lstStyle/>
          <a:p>
            <a:pPr marL="168275" indent="-168275">
              <a:lnSpc>
                <a:spcPct val="95000"/>
              </a:lnSpc>
              <a:spcBef>
                <a:spcPct val="15000"/>
              </a:spcBef>
              <a:buClr>
                <a:srgbClr val="000000"/>
              </a:buClr>
              <a:buFont typeface="Wingdings" pitchFamily="2" charset="2"/>
              <a:buChar char="§"/>
            </a:pPr>
            <a:r>
              <a:rPr lang="en-US" sz="1000">
                <a:solidFill>
                  <a:srgbClr val="000000"/>
                </a:solidFill>
              </a:rPr>
              <a:t>1-2 weeks</a:t>
            </a:r>
          </a:p>
        </p:txBody>
      </p:sp>
      <p:sp>
        <p:nvSpPr>
          <p:cNvPr id="19480" name="Rectangle 51"/>
          <p:cNvSpPr>
            <a:spLocks noChangeArrowheads="1"/>
          </p:cNvSpPr>
          <p:nvPr/>
        </p:nvSpPr>
        <p:spPr bwMode="auto">
          <a:xfrm>
            <a:off x="4724400" y="6327775"/>
            <a:ext cx="2057400" cy="1701800"/>
          </a:xfrm>
          <a:prstGeom prst="rect">
            <a:avLst/>
          </a:prstGeom>
          <a:noFill/>
          <a:ln w="9525">
            <a:noFill/>
            <a:miter lim="800000"/>
            <a:headEnd/>
            <a:tailEnd/>
          </a:ln>
        </p:spPr>
        <p:txBody>
          <a:bodyPr/>
          <a:lstStyle/>
          <a:p>
            <a:pPr marL="168275" indent="-168275">
              <a:lnSpc>
                <a:spcPct val="95000"/>
              </a:lnSpc>
              <a:spcBef>
                <a:spcPct val="15000"/>
              </a:spcBef>
              <a:buClr>
                <a:srgbClr val="000000"/>
              </a:buClr>
              <a:buFont typeface="Wingdings" pitchFamily="2" charset="2"/>
              <a:buChar char="§"/>
            </a:pPr>
            <a:r>
              <a:rPr lang="en-US" sz="1000">
                <a:solidFill>
                  <a:srgbClr val="000000"/>
                </a:solidFill>
              </a:rPr>
              <a:t>1 week</a:t>
            </a:r>
            <a:endParaRPr lang="en-US" sz="1100"/>
          </a:p>
        </p:txBody>
      </p:sp>
      <p:sp>
        <p:nvSpPr>
          <p:cNvPr id="19481" name="Rectangle 42"/>
          <p:cNvSpPr>
            <a:spLocks noChangeArrowheads="1"/>
          </p:cNvSpPr>
          <p:nvPr/>
        </p:nvSpPr>
        <p:spPr bwMode="auto">
          <a:xfrm>
            <a:off x="6858000" y="6327775"/>
            <a:ext cx="1828800" cy="441325"/>
          </a:xfrm>
          <a:prstGeom prst="rect">
            <a:avLst/>
          </a:prstGeom>
          <a:noFill/>
          <a:ln w="9525">
            <a:noFill/>
            <a:miter lim="800000"/>
            <a:headEnd/>
            <a:tailEnd/>
          </a:ln>
        </p:spPr>
        <p:txBody>
          <a:bodyPr>
            <a:spAutoFit/>
          </a:bodyPr>
          <a:lstStyle/>
          <a:p>
            <a:pPr marL="168275" indent="-168275">
              <a:lnSpc>
                <a:spcPct val="95000"/>
              </a:lnSpc>
              <a:spcBef>
                <a:spcPct val="15000"/>
              </a:spcBef>
              <a:buClr>
                <a:schemeClr val="tx2"/>
              </a:buClr>
              <a:buFont typeface="Wingdings" pitchFamily="2" charset="2"/>
              <a:buChar char="§"/>
            </a:pPr>
            <a:r>
              <a:rPr lang="en-US" sz="1000"/>
              <a:t>1 week</a:t>
            </a:r>
          </a:p>
          <a:p>
            <a:pPr marL="168275" indent="-168275">
              <a:lnSpc>
                <a:spcPct val="95000"/>
              </a:lnSpc>
              <a:spcBef>
                <a:spcPct val="15000"/>
              </a:spcBef>
              <a:buClr>
                <a:schemeClr val="tx2"/>
              </a:buClr>
              <a:buFont typeface="Wingdings" pitchFamily="2" charset="2"/>
              <a:buChar char="§"/>
            </a:pPr>
            <a:endParaRPr lang="en-US" sz="1200">
              <a:solidFill>
                <a:schemeClr val="bg2"/>
              </a:solidFill>
            </a:endParaRPr>
          </a:p>
        </p:txBody>
      </p:sp>
      <p:cxnSp>
        <p:nvCxnSpPr>
          <p:cNvPr id="45" name="Straight Connector 44"/>
          <p:cNvCxnSpPr/>
          <p:nvPr/>
        </p:nvCxnSpPr>
        <p:spPr bwMode="auto">
          <a:xfrm>
            <a:off x="1600200" y="4813300"/>
            <a:ext cx="7086600" cy="1588"/>
          </a:xfrm>
          <a:prstGeom prst="line">
            <a:avLst/>
          </a:prstGeom>
          <a:noFill/>
          <a:ln w="9525" cap="flat" cmpd="sng" algn="ctr">
            <a:solidFill>
              <a:schemeClr val="bg2">
                <a:lumMod val="60000"/>
                <a:lumOff val="40000"/>
              </a:schemeClr>
            </a:solidFill>
            <a:prstDash val="solid"/>
            <a:round/>
            <a:headEnd type="none" w="med" len="med"/>
            <a:tailEnd type="none" w="med" len="med"/>
          </a:ln>
          <a:effectLst/>
        </p:spPr>
      </p:cxnSp>
      <p:cxnSp>
        <p:nvCxnSpPr>
          <p:cNvPr id="47" name="Straight Connector 46"/>
          <p:cNvCxnSpPr/>
          <p:nvPr/>
        </p:nvCxnSpPr>
        <p:spPr bwMode="auto">
          <a:xfrm>
            <a:off x="1600200" y="6032500"/>
            <a:ext cx="7086600" cy="1588"/>
          </a:xfrm>
          <a:prstGeom prst="line">
            <a:avLst/>
          </a:prstGeom>
          <a:noFill/>
          <a:ln w="9525" cap="flat" cmpd="sng" algn="ctr">
            <a:solidFill>
              <a:schemeClr val="bg2">
                <a:lumMod val="60000"/>
                <a:lumOff val="40000"/>
              </a:schemeClr>
            </a:solidFill>
            <a:prstDash val="solid"/>
            <a:round/>
            <a:headEnd type="none" w="med" len="med"/>
            <a:tailEnd type="none" w="med" len="med"/>
          </a:ln>
          <a:effectLst/>
        </p:spPr>
      </p:cxnSp>
      <p:sp>
        <p:nvSpPr>
          <p:cNvPr id="19484" name="Rectangle 47"/>
          <p:cNvSpPr>
            <a:spLocks noChangeArrowheads="1"/>
          </p:cNvSpPr>
          <p:nvPr/>
        </p:nvSpPr>
        <p:spPr bwMode="auto">
          <a:xfrm>
            <a:off x="457200" y="1917700"/>
            <a:ext cx="228600" cy="228600"/>
          </a:xfrm>
          <a:prstGeom prst="rect">
            <a:avLst/>
          </a:prstGeom>
          <a:solidFill>
            <a:schemeClr val="accent1"/>
          </a:solidFill>
          <a:ln w="9525" algn="ctr">
            <a:noFill/>
            <a:round/>
            <a:headEnd/>
            <a:tailEnd/>
          </a:ln>
        </p:spPr>
        <p:txBody>
          <a:bodyPr anchor="ctr" anchorCtr="1"/>
          <a:lstStyle/>
          <a:p>
            <a:pPr algn="ctr"/>
            <a:r>
              <a:rPr lang="en-US" sz="1200" b="1">
                <a:solidFill>
                  <a:schemeClr val="bg1"/>
                </a:solidFill>
              </a:rPr>
              <a:t>1</a:t>
            </a:r>
          </a:p>
        </p:txBody>
      </p:sp>
      <p:sp>
        <p:nvSpPr>
          <p:cNvPr id="19485" name="Rectangle 48"/>
          <p:cNvSpPr>
            <a:spLocks noChangeArrowheads="1"/>
          </p:cNvSpPr>
          <p:nvPr/>
        </p:nvSpPr>
        <p:spPr bwMode="auto">
          <a:xfrm>
            <a:off x="2590800" y="1917700"/>
            <a:ext cx="228600" cy="228600"/>
          </a:xfrm>
          <a:prstGeom prst="rect">
            <a:avLst/>
          </a:prstGeom>
          <a:solidFill>
            <a:schemeClr val="accent1"/>
          </a:solidFill>
          <a:ln w="9525" algn="ctr">
            <a:noFill/>
            <a:round/>
            <a:headEnd/>
            <a:tailEnd/>
          </a:ln>
        </p:spPr>
        <p:txBody>
          <a:bodyPr anchor="ctr" anchorCtr="1"/>
          <a:lstStyle/>
          <a:p>
            <a:pPr algn="ctr"/>
            <a:r>
              <a:rPr lang="en-US" sz="1200" b="1">
                <a:solidFill>
                  <a:schemeClr val="bg1"/>
                </a:solidFill>
              </a:rPr>
              <a:t>2</a:t>
            </a:r>
          </a:p>
        </p:txBody>
      </p:sp>
      <p:sp>
        <p:nvSpPr>
          <p:cNvPr id="19486" name="Rectangle 49"/>
          <p:cNvSpPr>
            <a:spLocks noChangeArrowheads="1"/>
          </p:cNvSpPr>
          <p:nvPr/>
        </p:nvSpPr>
        <p:spPr bwMode="auto">
          <a:xfrm>
            <a:off x="4724400" y="1917700"/>
            <a:ext cx="228600" cy="228600"/>
          </a:xfrm>
          <a:prstGeom prst="rect">
            <a:avLst/>
          </a:prstGeom>
          <a:solidFill>
            <a:schemeClr val="accent1"/>
          </a:solidFill>
          <a:ln w="9525" algn="ctr">
            <a:noFill/>
            <a:round/>
            <a:headEnd/>
            <a:tailEnd/>
          </a:ln>
        </p:spPr>
        <p:txBody>
          <a:bodyPr anchor="ctr" anchorCtr="1"/>
          <a:lstStyle/>
          <a:p>
            <a:pPr algn="ctr"/>
            <a:r>
              <a:rPr lang="en-US" sz="1200" b="1">
                <a:solidFill>
                  <a:schemeClr val="bg1"/>
                </a:solidFill>
              </a:rPr>
              <a:t>3</a:t>
            </a:r>
          </a:p>
        </p:txBody>
      </p:sp>
      <p:sp>
        <p:nvSpPr>
          <p:cNvPr id="19487" name="Rectangle 50"/>
          <p:cNvSpPr>
            <a:spLocks noChangeArrowheads="1"/>
          </p:cNvSpPr>
          <p:nvPr/>
        </p:nvSpPr>
        <p:spPr bwMode="auto">
          <a:xfrm>
            <a:off x="6858000" y="1917700"/>
            <a:ext cx="228600" cy="228600"/>
          </a:xfrm>
          <a:prstGeom prst="rect">
            <a:avLst/>
          </a:prstGeom>
          <a:solidFill>
            <a:schemeClr val="accent1"/>
          </a:solidFill>
          <a:ln w="9525" algn="ctr">
            <a:noFill/>
            <a:round/>
            <a:headEnd/>
            <a:tailEnd/>
          </a:ln>
        </p:spPr>
        <p:txBody>
          <a:bodyPr anchor="ctr" anchorCtr="1"/>
          <a:lstStyle/>
          <a:p>
            <a:pPr algn="ctr"/>
            <a:r>
              <a:rPr lang="en-US" sz="1200" b="1">
                <a:solidFill>
                  <a:schemeClr val="bg1"/>
                </a:solidFill>
              </a:rPr>
              <a:t>4</a:t>
            </a:r>
          </a:p>
        </p:txBody>
      </p:sp>
      <p:sp>
        <p:nvSpPr>
          <p:cNvPr id="19488" name="Rectangle 20"/>
          <p:cNvSpPr>
            <a:spLocks noChangeArrowheads="1"/>
          </p:cNvSpPr>
          <p:nvPr/>
        </p:nvSpPr>
        <p:spPr bwMode="auto">
          <a:xfrm>
            <a:off x="228600" y="4886325"/>
            <a:ext cx="365125" cy="336550"/>
          </a:xfrm>
          <a:prstGeom prst="rect">
            <a:avLst/>
          </a:prstGeom>
          <a:noFill/>
          <a:ln w="9525">
            <a:noFill/>
            <a:miter lim="800000"/>
            <a:headEnd/>
            <a:tailEnd/>
          </a:ln>
        </p:spPr>
        <p:txBody>
          <a:bodyPr wrap="none" lIns="91436" tIns="45716" rIns="91436" bIns="45716">
            <a:spAutoFit/>
          </a:bodyPr>
          <a:lstStyle/>
          <a:p>
            <a:pPr>
              <a:spcBef>
                <a:spcPct val="20000"/>
              </a:spcBef>
              <a:buClr>
                <a:schemeClr val="tx1"/>
              </a:buClr>
              <a:buFont typeface="Wingdings" pitchFamily="2" charset="2"/>
              <a:buNone/>
            </a:pPr>
            <a:r>
              <a:rPr lang="de-DE">
                <a:solidFill>
                  <a:srgbClr val="00CC99"/>
                </a:solidFill>
                <a:sym typeface="Wingdings" pitchFamily="2" charset="2"/>
              </a:rPr>
              <a:t></a:t>
            </a:r>
          </a:p>
        </p:txBody>
      </p:sp>
      <p:sp>
        <p:nvSpPr>
          <p:cNvPr id="19489" name="Rectangle 20"/>
          <p:cNvSpPr>
            <a:spLocks noChangeArrowheads="1"/>
          </p:cNvSpPr>
          <p:nvPr/>
        </p:nvSpPr>
        <p:spPr bwMode="auto">
          <a:xfrm>
            <a:off x="2378075" y="4884738"/>
            <a:ext cx="365125" cy="336550"/>
          </a:xfrm>
          <a:prstGeom prst="rect">
            <a:avLst/>
          </a:prstGeom>
          <a:noFill/>
          <a:ln w="9525">
            <a:noFill/>
            <a:miter lim="800000"/>
            <a:headEnd/>
            <a:tailEnd/>
          </a:ln>
        </p:spPr>
        <p:txBody>
          <a:bodyPr wrap="none" lIns="91436" tIns="45716" rIns="91436" bIns="45716">
            <a:spAutoFit/>
          </a:bodyPr>
          <a:lstStyle/>
          <a:p>
            <a:pPr>
              <a:spcBef>
                <a:spcPct val="20000"/>
              </a:spcBef>
              <a:buClr>
                <a:schemeClr val="tx1"/>
              </a:buClr>
              <a:buFont typeface="Wingdings" pitchFamily="2" charset="2"/>
              <a:buNone/>
            </a:pPr>
            <a:r>
              <a:rPr lang="de-DE">
                <a:solidFill>
                  <a:srgbClr val="00CC99"/>
                </a:solidFill>
                <a:sym typeface="Wingdings" pitchFamily="2" charset="2"/>
              </a:rPr>
              <a:t></a:t>
            </a:r>
          </a:p>
        </p:txBody>
      </p:sp>
      <p:sp>
        <p:nvSpPr>
          <p:cNvPr id="19490" name="Rectangle 20"/>
          <p:cNvSpPr>
            <a:spLocks noChangeArrowheads="1"/>
          </p:cNvSpPr>
          <p:nvPr/>
        </p:nvSpPr>
        <p:spPr bwMode="auto">
          <a:xfrm>
            <a:off x="2378075" y="5106988"/>
            <a:ext cx="365125" cy="366712"/>
          </a:xfrm>
          <a:prstGeom prst="rect">
            <a:avLst/>
          </a:prstGeom>
          <a:noFill/>
          <a:ln w="9525">
            <a:noFill/>
            <a:miter lim="800000"/>
            <a:headEnd/>
            <a:tailEnd/>
          </a:ln>
        </p:spPr>
        <p:txBody>
          <a:bodyPr lIns="91436" tIns="45716" rIns="91436" bIns="45716">
            <a:spAutoFit/>
          </a:bodyPr>
          <a:lstStyle/>
          <a:p>
            <a:pPr>
              <a:spcBef>
                <a:spcPct val="20000"/>
              </a:spcBef>
              <a:buClr>
                <a:schemeClr val="tx1"/>
              </a:buClr>
              <a:buFont typeface="Wingdings" pitchFamily="2" charset="2"/>
              <a:buNone/>
            </a:pPr>
            <a:r>
              <a:rPr lang="de-DE">
                <a:solidFill>
                  <a:srgbClr val="00CC99"/>
                </a:solidFill>
                <a:sym typeface="Wingdings" pitchFamily="2" charset="2"/>
              </a:rPr>
              <a:t></a:t>
            </a:r>
          </a:p>
        </p:txBody>
      </p:sp>
      <p:sp>
        <p:nvSpPr>
          <p:cNvPr id="19491" name="Rectangle 20"/>
          <p:cNvSpPr>
            <a:spLocks noChangeArrowheads="1"/>
          </p:cNvSpPr>
          <p:nvPr/>
        </p:nvSpPr>
        <p:spPr bwMode="auto">
          <a:xfrm>
            <a:off x="4506913" y="4856163"/>
            <a:ext cx="365125" cy="366712"/>
          </a:xfrm>
          <a:prstGeom prst="rect">
            <a:avLst/>
          </a:prstGeom>
          <a:noFill/>
          <a:ln w="9525">
            <a:noFill/>
            <a:miter lim="800000"/>
            <a:headEnd/>
            <a:tailEnd/>
          </a:ln>
        </p:spPr>
        <p:txBody>
          <a:bodyPr lIns="91436" tIns="45716" rIns="91436" bIns="45716">
            <a:spAutoFit/>
          </a:bodyPr>
          <a:lstStyle/>
          <a:p>
            <a:pPr>
              <a:spcBef>
                <a:spcPct val="20000"/>
              </a:spcBef>
              <a:buClr>
                <a:schemeClr val="tx1"/>
              </a:buClr>
              <a:buFont typeface="Wingdings" pitchFamily="2" charset="2"/>
              <a:buNone/>
            </a:pPr>
            <a:r>
              <a:rPr lang="de-DE">
                <a:solidFill>
                  <a:srgbClr val="00CC99"/>
                </a:solidFill>
                <a:sym typeface="Wingdings" pitchFamily="2" charset="2"/>
              </a:rPr>
              <a:t></a:t>
            </a:r>
          </a:p>
        </p:txBody>
      </p:sp>
      <p:sp>
        <p:nvSpPr>
          <p:cNvPr id="19492" name="Rectangle 20"/>
          <p:cNvSpPr>
            <a:spLocks noChangeArrowheads="1"/>
          </p:cNvSpPr>
          <p:nvPr/>
        </p:nvSpPr>
        <p:spPr bwMode="auto">
          <a:xfrm>
            <a:off x="6672263" y="4862513"/>
            <a:ext cx="365125" cy="336550"/>
          </a:xfrm>
          <a:prstGeom prst="rect">
            <a:avLst/>
          </a:prstGeom>
          <a:noFill/>
          <a:ln w="9525">
            <a:noFill/>
            <a:miter lim="800000"/>
            <a:headEnd/>
            <a:tailEnd/>
          </a:ln>
        </p:spPr>
        <p:txBody>
          <a:bodyPr wrap="none" lIns="91436" tIns="45716" rIns="91436" bIns="45716">
            <a:spAutoFit/>
          </a:bodyPr>
          <a:lstStyle/>
          <a:p>
            <a:pPr>
              <a:spcBef>
                <a:spcPct val="20000"/>
              </a:spcBef>
              <a:buClr>
                <a:schemeClr val="tx1"/>
              </a:buClr>
              <a:buFont typeface="Wingdings" pitchFamily="2" charset="2"/>
              <a:buNone/>
            </a:pPr>
            <a:r>
              <a:rPr lang="de-DE">
                <a:solidFill>
                  <a:srgbClr val="00CC99"/>
                </a:solidFill>
                <a:sym typeface="Wingdings" pitchFamily="2" charset="2"/>
              </a:rPr>
              <a:t></a:t>
            </a:r>
          </a:p>
        </p:txBody>
      </p:sp>
      <p:sp>
        <p:nvSpPr>
          <p:cNvPr id="19493" name="Rectangle 20"/>
          <p:cNvSpPr>
            <a:spLocks noChangeArrowheads="1"/>
          </p:cNvSpPr>
          <p:nvPr/>
        </p:nvSpPr>
        <p:spPr bwMode="auto">
          <a:xfrm>
            <a:off x="6667500" y="5222875"/>
            <a:ext cx="365125" cy="366713"/>
          </a:xfrm>
          <a:prstGeom prst="rect">
            <a:avLst/>
          </a:prstGeom>
          <a:noFill/>
          <a:ln w="9525">
            <a:noFill/>
            <a:miter lim="800000"/>
            <a:headEnd/>
            <a:tailEnd/>
          </a:ln>
        </p:spPr>
        <p:txBody>
          <a:bodyPr lIns="91436" tIns="45716" rIns="91436" bIns="45716">
            <a:spAutoFit/>
          </a:bodyPr>
          <a:lstStyle/>
          <a:p>
            <a:pPr>
              <a:spcBef>
                <a:spcPct val="20000"/>
              </a:spcBef>
              <a:buClr>
                <a:schemeClr val="tx1"/>
              </a:buClr>
              <a:buFont typeface="Wingdings" pitchFamily="2" charset="2"/>
              <a:buNone/>
            </a:pPr>
            <a:r>
              <a:rPr lang="de-DE">
                <a:solidFill>
                  <a:srgbClr val="00CC99"/>
                </a:solidFill>
                <a:sym typeface="Wingdings" pitchFamily="2" charset="2"/>
              </a:rPr>
              <a:t></a:t>
            </a:r>
          </a:p>
        </p:txBody>
      </p:sp>
      <p:sp>
        <p:nvSpPr>
          <p:cNvPr id="19494" name="Rectangle 20"/>
          <p:cNvSpPr>
            <a:spLocks noChangeArrowheads="1"/>
          </p:cNvSpPr>
          <p:nvPr/>
        </p:nvSpPr>
        <p:spPr bwMode="auto">
          <a:xfrm>
            <a:off x="6667500" y="5038725"/>
            <a:ext cx="365125" cy="366713"/>
          </a:xfrm>
          <a:prstGeom prst="rect">
            <a:avLst/>
          </a:prstGeom>
          <a:noFill/>
          <a:ln w="9525">
            <a:noFill/>
            <a:miter lim="800000"/>
            <a:headEnd/>
            <a:tailEnd/>
          </a:ln>
        </p:spPr>
        <p:txBody>
          <a:bodyPr lIns="91436" tIns="45716" rIns="91436" bIns="45716">
            <a:spAutoFit/>
          </a:bodyPr>
          <a:lstStyle/>
          <a:p>
            <a:pPr>
              <a:spcBef>
                <a:spcPct val="20000"/>
              </a:spcBef>
              <a:buClr>
                <a:schemeClr val="tx1"/>
              </a:buClr>
              <a:buFont typeface="Wingdings" pitchFamily="2" charset="2"/>
              <a:buNone/>
            </a:pPr>
            <a:r>
              <a:rPr lang="de-DE">
                <a:solidFill>
                  <a:srgbClr val="00CC99"/>
                </a:solidFill>
                <a:sym typeface="Wingdings" pitchFamily="2" charset="2"/>
              </a:rPr>
              <a:t></a:t>
            </a:r>
          </a:p>
        </p:txBody>
      </p:sp>
      <p:sp>
        <p:nvSpPr>
          <p:cNvPr id="19495" name="Rectangle 20"/>
          <p:cNvSpPr>
            <a:spLocks noChangeArrowheads="1"/>
          </p:cNvSpPr>
          <p:nvPr/>
        </p:nvSpPr>
        <p:spPr bwMode="auto">
          <a:xfrm>
            <a:off x="244475" y="5199063"/>
            <a:ext cx="365125" cy="366712"/>
          </a:xfrm>
          <a:prstGeom prst="rect">
            <a:avLst/>
          </a:prstGeom>
          <a:noFill/>
          <a:ln w="9525">
            <a:noFill/>
            <a:miter lim="800000"/>
            <a:headEnd/>
            <a:tailEnd/>
          </a:ln>
        </p:spPr>
        <p:txBody>
          <a:bodyPr lIns="91436" tIns="45716" rIns="91436" bIns="45716">
            <a:spAutoFit/>
          </a:bodyPr>
          <a:lstStyle/>
          <a:p>
            <a:pPr>
              <a:spcBef>
                <a:spcPct val="20000"/>
              </a:spcBef>
              <a:buClr>
                <a:schemeClr val="tx1"/>
              </a:buClr>
              <a:buFont typeface="Wingdings" pitchFamily="2" charset="2"/>
              <a:buNone/>
            </a:pPr>
            <a:r>
              <a:rPr lang="de-DE">
                <a:solidFill>
                  <a:srgbClr val="00CC99"/>
                </a:solidFill>
                <a:sym typeface="Wingdings" pitchFamily="2" charset="2"/>
              </a:rPr>
              <a:t></a:t>
            </a:r>
          </a:p>
        </p:txBody>
      </p:sp>
      <p:sp>
        <p:nvSpPr>
          <p:cNvPr id="19496" name="Rectangle 43"/>
          <p:cNvSpPr>
            <a:spLocks noChangeArrowheads="1"/>
          </p:cNvSpPr>
          <p:nvPr/>
        </p:nvSpPr>
        <p:spPr bwMode="auto">
          <a:xfrm>
            <a:off x="2378075" y="5441950"/>
            <a:ext cx="387350" cy="366713"/>
          </a:xfrm>
          <a:prstGeom prst="rect">
            <a:avLst/>
          </a:prstGeom>
          <a:noFill/>
          <a:ln w="9525">
            <a:noFill/>
            <a:miter lim="800000"/>
            <a:headEnd/>
            <a:tailEnd/>
          </a:ln>
        </p:spPr>
        <p:txBody>
          <a:bodyPr wrap="none">
            <a:spAutoFit/>
          </a:bodyPr>
          <a:lstStyle/>
          <a:p>
            <a:pPr>
              <a:spcBef>
                <a:spcPct val="20000"/>
              </a:spcBef>
              <a:buClr>
                <a:schemeClr val="tx1"/>
              </a:buClr>
              <a:buFont typeface="Wingdings" pitchFamily="2" charset="2"/>
              <a:buNone/>
            </a:pPr>
            <a:r>
              <a:rPr lang="de-DE">
                <a:solidFill>
                  <a:srgbClr val="00CC99"/>
                </a:solidFill>
                <a:sym typeface="Wingdings" pitchFamily="2" charset="2"/>
              </a:rPr>
              <a:t></a:t>
            </a:r>
          </a:p>
        </p:txBody>
      </p:sp>
      <p:sp>
        <p:nvSpPr>
          <p:cNvPr id="19497" name="Rectangle 44"/>
          <p:cNvSpPr>
            <a:spLocks noChangeArrowheads="1"/>
          </p:cNvSpPr>
          <p:nvPr/>
        </p:nvSpPr>
        <p:spPr bwMode="auto">
          <a:xfrm>
            <a:off x="4506913" y="5075238"/>
            <a:ext cx="233362" cy="366712"/>
          </a:xfrm>
          <a:prstGeom prst="rect">
            <a:avLst/>
          </a:prstGeom>
          <a:noFill/>
          <a:ln w="9525">
            <a:noFill/>
            <a:miter lim="800000"/>
            <a:headEnd/>
            <a:tailEnd/>
          </a:ln>
        </p:spPr>
        <p:txBody>
          <a:bodyPr>
            <a:spAutoFit/>
          </a:bodyPr>
          <a:lstStyle/>
          <a:p>
            <a:r>
              <a:rPr lang="de-DE">
                <a:solidFill>
                  <a:srgbClr val="00CC99"/>
                </a:solidFill>
                <a:sym typeface="Wingdings" pitchFamily="2" charset="2"/>
              </a:rPr>
              <a:t></a:t>
            </a:r>
            <a:endParaRPr lang="en-US">
              <a:solidFill>
                <a:srgbClr val="00CC99"/>
              </a:solidFill>
              <a:sym typeface="Wingdings" pitchFamily="2" charset="2"/>
            </a:endParaRPr>
          </a:p>
        </p:txBody>
      </p:sp>
      <p:sp>
        <p:nvSpPr>
          <p:cNvPr id="19498" name="Rectangle 45"/>
          <p:cNvSpPr>
            <a:spLocks noChangeArrowheads="1"/>
          </p:cNvSpPr>
          <p:nvPr/>
        </p:nvSpPr>
        <p:spPr bwMode="auto">
          <a:xfrm>
            <a:off x="4530725" y="5441950"/>
            <a:ext cx="233363" cy="366713"/>
          </a:xfrm>
          <a:prstGeom prst="rect">
            <a:avLst/>
          </a:prstGeom>
          <a:noFill/>
          <a:ln w="9525">
            <a:noFill/>
            <a:miter lim="800000"/>
            <a:headEnd/>
            <a:tailEnd/>
          </a:ln>
        </p:spPr>
        <p:txBody>
          <a:bodyPr>
            <a:spAutoFit/>
          </a:bodyPr>
          <a:lstStyle/>
          <a:p>
            <a:r>
              <a:rPr lang="de-DE">
                <a:solidFill>
                  <a:srgbClr val="00CC99"/>
                </a:solidFill>
                <a:sym typeface="Wingdings" pitchFamily="2" charset="2"/>
              </a:rPr>
              <a:t></a:t>
            </a:r>
            <a:endParaRPr lang="en-US">
              <a:solidFill>
                <a:srgbClr val="00CC99"/>
              </a:solidFill>
              <a:sym typeface="Wingdings" pitchFamily="2" charset="2"/>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Title 1"/>
          <p:cNvSpPr>
            <a:spLocks noGrp="1"/>
          </p:cNvSpPr>
          <p:nvPr>
            <p:ph type="title" idx="4294967295"/>
          </p:nvPr>
        </p:nvSpPr>
        <p:spPr>
          <a:xfrm>
            <a:off x="152400" y="630238"/>
            <a:ext cx="7826375" cy="701675"/>
          </a:xfrm>
        </p:spPr>
        <p:txBody>
          <a:bodyPr/>
          <a:lstStyle/>
          <a:p>
            <a:pPr eaLnBrk="1" hangingPunct="1"/>
            <a:r>
              <a:rPr lang="en-US" smtClean="0"/>
              <a:t>ALCS operations and management are driven by programs/projects </a:t>
            </a:r>
          </a:p>
        </p:txBody>
      </p:sp>
      <p:sp>
        <p:nvSpPr>
          <p:cNvPr id="39938" name="Slide Number Placeholder 3"/>
          <p:cNvSpPr txBox="1">
            <a:spLocks noGrp="1"/>
          </p:cNvSpPr>
          <p:nvPr/>
        </p:nvSpPr>
        <p:spPr bwMode="black">
          <a:xfrm>
            <a:off x="152400" y="6553200"/>
            <a:ext cx="366713" cy="184150"/>
          </a:xfrm>
          <a:prstGeom prst="rect">
            <a:avLst/>
          </a:prstGeom>
          <a:noFill/>
          <a:ln w="9525">
            <a:noFill/>
            <a:miter lim="800000"/>
            <a:headEnd/>
            <a:tailEnd/>
          </a:ln>
        </p:spPr>
        <p:txBody>
          <a:bodyPr lIns="92075" tIns="46038" rIns="92075" bIns="46038"/>
          <a:lstStyle/>
          <a:p>
            <a:fld id="{BF8DC6CC-31AE-44CD-9E43-62DAF0E67972}" type="slidenum">
              <a:rPr lang="en-US" sz="800"/>
              <a:pPr/>
              <a:t>8</a:t>
            </a:fld>
            <a:endParaRPr lang="en-US" sz="800"/>
          </a:p>
        </p:txBody>
      </p:sp>
      <p:sp>
        <p:nvSpPr>
          <p:cNvPr id="39939" name="Freeform 4"/>
          <p:cNvSpPr>
            <a:spLocks noChangeAspect="1"/>
          </p:cNvSpPr>
          <p:nvPr/>
        </p:nvSpPr>
        <p:spPr bwMode="gray">
          <a:xfrm rot="872276">
            <a:off x="4275138" y="3114675"/>
            <a:ext cx="1100137" cy="1971675"/>
          </a:xfrm>
          <a:custGeom>
            <a:avLst/>
            <a:gdLst>
              <a:gd name="T0" fmla="*/ 198670 w 443"/>
              <a:gd name="T1" fmla="*/ 1847850 h 828"/>
              <a:gd name="T2" fmla="*/ 653129 w 443"/>
              <a:gd name="T3" fmla="*/ 1659731 h 828"/>
              <a:gd name="T4" fmla="*/ 921334 w 443"/>
              <a:gd name="T5" fmla="*/ 1276350 h 828"/>
              <a:gd name="T6" fmla="*/ 968518 w 443"/>
              <a:gd name="T7" fmla="*/ 862013 h 828"/>
              <a:gd name="T8" fmla="*/ 772331 w 443"/>
              <a:gd name="T9" fmla="*/ 426244 h 828"/>
              <a:gd name="T10" fmla="*/ 404791 w 443"/>
              <a:gd name="T11" fmla="*/ 176213 h 828"/>
              <a:gd name="T12" fmla="*/ 0 w 443"/>
              <a:gd name="T13" fmla="*/ 123825 h 828"/>
              <a:gd name="T14" fmla="*/ 89402 w 443"/>
              <a:gd name="T15" fmla="*/ 273844 h 828"/>
              <a:gd name="T16" fmla="*/ 136586 w 443"/>
              <a:gd name="T17" fmla="*/ 276225 h 828"/>
              <a:gd name="T18" fmla="*/ 171353 w 443"/>
              <a:gd name="T19" fmla="*/ 278606 h 828"/>
              <a:gd name="T20" fmla="*/ 208604 w 443"/>
              <a:gd name="T21" fmla="*/ 285750 h 828"/>
              <a:gd name="T22" fmla="*/ 245855 w 443"/>
              <a:gd name="T23" fmla="*/ 295275 h 828"/>
              <a:gd name="T24" fmla="*/ 285589 w 443"/>
              <a:gd name="T25" fmla="*/ 304800 h 828"/>
              <a:gd name="T26" fmla="*/ 327806 w 443"/>
              <a:gd name="T27" fmla="*/ 319088 h 828"/>
              <a:gd name="T28" fmla="*/ 372507 w 443"/>
              <a:gd name="T29" fmla="*/ 333375 h 828"/>
              <a:gd name="T30" fmla="*/ 412241 w 443"/>
              <a:gd name="T31" fmla="*/ 352425 h 828"/>
              <a:gd name="T32" fmla="*/ 456942 w 443"/>
              <a:gd name="T33" fmla="*/ 376238 h 828"/>
              <a:gd name="T34" fmla="*/ 499159 w 443"/>
              <a:gd name="T35" fmla="*/ 404813 h 828"/>
              <a:gd name="T36" fmla="*/ 541377 w 443"/>
              <a:gd name="T37" fmla="*/ 435769 h 828"/>
              <a:gd name="T38" fmla="*/ 578627 w 443"/>
              <a:gd name="T39" fmla="*/ 471488 h 828"/>
              <a:gd name="T40" fmla="*/ 613395 w 443"/>
              <a:gd name="T41" fmla="*/ 502444 h 828"/>
              <a:gd name="T42" fmla="*/ 643195 w 443"/>
              <a:gd name="T43" fmla="*/ 535781 h 828"/>
              <a:gd name="T44" fmla="*/ 668029 w 443"/>
              <a:gd name="T45" fmla="*/ 566737 h 828"/>
              <a:gd name="T46" fmla="*/ 692863 w 443"/>
              <a:gd name="T47" fmla="*/ 597694 h 828"/>
              <a:gd name="T48" fmla="*/ 712730 w 443"/>
              <a:gd name="T49" fmla="*/ 631031 h 828"/>
              <a:gd name="T50" fmla="*/ 732597 w 443"/>
              <a:gd name="T51" fmla="*/ 666750 h 828"/>
              <a:gd name="T52" fmla="*/ 749981 w 443"/>
              <a:gd name="T53" fmla="*/ 700088 h 828"/>
              <a:gd name="T54" fmla="*/ 764881 w 443"/>
              <a:gd name="T55" fmla="*/ 733425 h 828"/>
              <a:gd name="T56" fmla="*/ 774814 w 443"/>
              <a:gd name="T57" fmla="*/ 769144 h 828"/>
              <a:gd name="T58" fmla="*/ 784748 w 443"/>
              <a:gd name="T59" fmla="*/ 800100 h 828"/>
              <a:gd name="T60" fmla="*/ 789715 w 443"/>
              <a:gd name="T61" fmla="*/ 833438 h 828"/>
              <a:gd name="T62" fmla="*/ 799648 w 443"/>
              <a:gd name="T63" fmla="*/ 869156 h 828"/>
              <a:gd name="T64" fmla="*/ 804615 w 443"/>
              <a:gd name="T65" fmla="*/ 897731 h 828"/>
              <a:gd name="T66" fmla="*/ 809582 w 443"/>
              <a:gd name="T67" fmla="*/ 928688 h 828"/>
              <a:gd name="T68" fmla="*/ 814548 w 443"/>
              <a:gd name="T69" fmla="*/ 976313 h 828"/>
              <a:gd name="T70" fmla="*/ 814548 w 443"/>
              <a:gd name="T71" fmla="*/ 1007269 h 828"/>
              <a:gd name="T72" fmla="*/ 812065 w 443"/>
              <a:gd name="T73" fmla="*/ 1050131 h 828"/>
              <a:gd name="T74" fmla="*/ 799648 w 443"/>
              <a:gd name="T75" fmla="*/ 1100137 h 828"/>
              <a:gd name="T76" fmla="*/ 794681 w 443"/>
              <a:gd name="T77" fmla="*/ 1131094 h 828"/>
              <a:gd name="T78" fmla="*/ 784748 w 443"/>
              <a:gd name="T79" fmla="*/ 1164431 h 828"/>
              <a:gd name="T80" fmla="*/ 774814 w 443"/>
              <a:gd name="T81" fmla="*/ 1202531 h 828"/>
              <a:gd name="T82" fmla="*/ 762398 w 443"/>
              <a:gd name="T83" fmla="*/ 1235869 h 828"/>
              <a:gd name="T84" fmla="*/ 747497 w 443"/>
              <a:gd name="T85" fmla="*/ 1276350 h 828"/>
              <a:gd name="T86" fmla="*/ 727630 w 443"/>
              <a:gd name="T87" fmla="*/ 1314450 h 828"/>
              <a:gd name="T88" fmla="*/ 707763 w 443"/>
              <a:gd name="T89" fmla="*/ 1352550 h 828"/>
              <a:gd name="T90" fmla="*/ 682929 w 443"/>
              <a:gd name="T91" fmla="*/ 1390650 h 828"/>
              <a:gd name="T92" fmla="*/ 653129 w 443"/>
              <a:gd name="T93" fmla="*/ 1426369 h 828"/>
              <a:gd name="T94" fmla="*/ 623328 w 443"/>
              <a:gd name="T95" fmla="*/ 1464469 h 828"/>
              <a:gd name="T96" fmla="*/ 593528 w 443"/>
              <a:gd name="T97" fmla="*/ 1488281 h 828"/>
              <a:gd name="T98" fmla="*/ 571177 w 443"/>
              <a:gd name="T99" fmla="*/ 1509713 h 828"/>
              <a:gd name="T100" fmla="*/ 531443 w 443"/>
              <a:gd name="T101" fmla="*/ 1540669 h 828"/>
              <a:gd name="T102" fmla="*/ 479292 w 443"/>
              <a:gd name="T103" fmla="*/ 1578769 h 828"/>
              <a:gd name="T104" fmla="*/ 437075 w 443"/>
              <a:gd name="T105" fmla="*/ 1602581 h 828"/>
              <a:gd name="T106" fmla="*/ 402307 w 443"/>
              <a:gd name="T107" fmla="*/ 1621631 h 828"/>
              <a:gd name="T108" fmla="*/ 357607 w 443"/>
              <a:gd name="T109" fmla="*/ 1640681 h 828"/>
              <a:gd name="T110" fmla="*/ 312906 w 443"/>
              <a:gd name="T111" fmla="*/ 1654969 h 828"/>
              <a:gd name="T112" fmla="*/ 258271 w 443"/>
              <a:gd name="T113" fmla="*/ 1669256 h 828"/>
              <a:gd name="T114" fmla="*/ 206120 w 443"/>
              <a:gd name="T115" fmla="*/ 1683544 h 828"/>
              <a:gd name="T116" fmla="*/ 141553 w 443"/>
              <a:gd name="T117" fmla="*/ 1690688 h 828"/>
              <a:gd name="T118" fmla="*/ 79468 w 443"/>
              <a:gd name="T119" fmla="*/ 1697831 h 82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43"/>
              <a:gd name="T181" fmla="*/ 0 h 828"/>
              <a:gd name="T182" fmla="*/ 443 w 443"/>
              <a:gd name="T183" fmla="*/ 828 h 82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43" h="828">
                <a:moveTo>
                  <a:pt x="26" y="714"/>
                </a:moveTo>
                <a:lnTo>
                  <a:pt x="29" y="828"/>
                </a:lnTo>
                <a:lnTo>
                  <a:pt x="59" y="825"/>
                </a:lnTo>
                <a:lnTo>
                  <a:pt x="80" y="776"/>
                </a:lnTo>
                <a:lnTo>
                  <a:pt x="158" y="755"/>
                </a:lnTo>
                <a:lnTo>
                  <a:pt x="224" y="781"/>
                </a:lnTo>
                <a:lnTo>
                  <a:pt x="256" y="761"/>
                </a:lnTo>
                <a:lnTo>
                  <a:pt x="263" y="697"/>
                </a:lnTo>
                <a:lnTo>
                  <a:pt x="311" y="649"/>
                </a:lnTo>
                <a:lnTo>
                  <a:pt x="372" y="647"/>
                </a:lnTo>
                <a:lnTo>
                  <a:pt x="400" y="605"/>
                </a:lnTo>
                <a:lnTo>
                  <a:pt x="371" y="536"/>
                </a:lnTo>
                <a:lnTo>
                  <a:pt x="393" y="469"/>
                </a:lnTo>
                <a:lnTo>
                  <a:pt x="441" y="435"/>
                </a:lnTo>
                <a:lnTo>
                  <a:pt x="443" y="389"/>
                </a:lnTo>
                <a:lnTo>
                  <a:pt x="390" y="362"/>
                </a:lnTo>
                <a:lnTo>
                  <a:pt x="369" y="286"/>
                </a:lnTo>
                <a:lnTo>
                  <a:pt x="395" y="216"/>
                </a:lnTo>
                <a:lnTo>
                  <a:pt x="378" y="189"/>
                </a:lnTo>
                <a:lnTo>
                  <a:pt x="311" y="179"/>
                </a:lnTo>
                <a:lnTo>
                  <a:pt x="267" y="137"/>
                </a:lnTo>
                <a:lnTo>
                  <a:pt x="263" y="69"/>
                </a:lnTo>
                <a:lnTo>
                  <a:pt x="226" y="46"/>
                </a:lnTo>
                <a:lnTo>
                  <a:pt x="163" y="74"/>
                </a:lnTo>
                <a:lnTo>
                  <a:pt x="83" y="51"/>
                </a:lnTo>
                <a:lnTo>
                  <a:pt x="74" y="1"/>
                </a:lnTo>
                <a:lnTo>
                  <a:pt x="25" y="0"/>
                </a:lnTo>
                <a:lnTo>
                  <a:pt x="0" y="52"/>
                </a:lnTo>
                <a:lnTo>
                  <a:pt x="29" y="115"/>
                </a:lnTo>
                <a:lnTo>
                  <a:pt x="30" y="115"/>
                </a:lnTo>
                <a:lnTo>
                  <a:pt x="33" y="115"/>
                </a:lnTo>
                <a:lnTo>
                  <a:pt x="36" y="115"/>
                </a:lnTo>
                <a:lnTo>
                  <a:pt x="41" y="115"/>
                </a:lnTo>
                <a:lnTo>
                  <a:pt x="44" y="115"/>
                </a:lnTo>
                <a:lnTo>
                  <a:pt x="49" y="116"/>
                </a:lnTo>
                <a:lnTo>
                  <a:pt x="55" y="116"/>
                </a:lnTo>
                <a:lnTo>
                  <a:pt x="60" y="116"/>
                </a:lnTo>
                <a:lnTo>
                  <a:pt x="63" y="116"/>
                </a:lnTo>
                <a:lnTo>
                  <a:pt x="67" y="117"/>
                </a:lnTo>
                <a:lnTo>
                  <a:pt x="69" y="117"/>
                </a:lnTo>
                <a:lnTo>
                  <a:pt x="73" y="118"/>
                </a:lnTo>
                <a:lnTo>
                  <a:pt x="77" y="118"/>
                </a:lnTo>
                <a:lnTo>
                  <a:pt x="80" y="119"/>
                </a:lnTo>
                <a:lnTo>
                  <a:pt x="84" y="120"/>
                </a:lnTo>
                <a:lnTo>
                  <a:pt x="87" y="122"/>
                </a:lnTo>
                <a:lnTo>
                  <a:pt x="91" y="122"/>
                </a:lnTo>
                <a:lnTo>
                  <a:pt x="95" y="123"/>
                </a:lnTo>
                <a:lnTo>
                  <a:pt x="99" y="124"/>
                </a:lnTo>
                <a:lnTo>
                  <a:pt x="103" y="125"/>
                </a:lnTo>
                <a:lnTo>
                  <a:pt x="106" y="125"/>
                </a:lnTo>
                <a:lnTo>
                  <a:pt x="111" y="126"/>
                </a:lnTo>
                <a:lnTo>
                  <a:pt x="115" y="128"/>
                </a:lnTo>
                <a:lnTo>
                  <a:pt x="120" y="129"/>
                </a:lnTo>
                <a:lnTo>
                  <a:pt x="123" y="130"/>
                </a:lnTo>
                <a:lnTo>
                  <a:pt x="128" y="132"/>
                </a:lnTo>
                <a:lnTo>
                  <a:pt x="132" y="134"/>
                </a:lnTo>
                <a:lnTo>
                  <a:pt x="136" y="136"/>
                </a:lnTo>
                <a:lnTo>
                  <a:pt x="140" y="137"/>
                </a:lnTo>
                <a:lnTo>
                  <a:pt x="145" y="138"/>
                </a:lnTo>
                <a:lnTo>
                  <a:pt x="150" y="140"/>
                </a:lnTo>
                <a:lnTo>
                  <a:pt x="153" y="142"/>
                </a:lnTo>
                <a:lnTo>
                  <a:pt x="158" y="144"/>
                </a:lnTo>
                <a:lnTo>
                  <a:pt x="163" y="146"/>
                </a:lnTo>
                <a:lnTo>
                  <a:pt x="166" y="148"/>
                </a:lnTo>
                <a:lnTo>
                  <a:pt x="172" y="152"/>
                </a:lnTo>
                <a:lnTo>
                  <a:pt x="176" y="153"/>
                </a:lnTo>
                <a:lnTo>
                  <a:pt x="181" y="155"/>
                </a:lnTo>
                <a:lnTo>
                  <a:pt x="184" y="158"/>
                </a:lnTo>
                <a:lnTo>
                  <a:pt x="189" y="161"/>
                </a:lnTo>
                <a:lnTo>
                  <a:pt x="193" y="162"/>
                </a:lnTo>
                <a:lnTo>
                  <a:pt x="198" y="166"/>
                </a:lnTo>
                <a:lnTo>
                  <a:pt x="201" y="170"/>
                </a:lnTo>
                <a:lnTo>
                  <a:pt x="206" y="173"/>
                </a:lnTo>
                <a:lnTo>
                  <a:pt x="209" y="176"/>
                </a:lnTo>
                <a:lnTo>
                  <a:pt x="214" y="179"/>
                </a:lnTo>
                <a:lnTo>
                  <a:pt x="218" y="183"/>
                </a:lnTo>
                <a:lnTo>
                  <a:pt x="221" y="186"/>
                </a:lnTo>
                <a:lnTo>
                  <a:pt x="225" y="190"/>
                </a:lnTo>
                <a:lnTo>
                  <a:pt x="230" y="193"/>
                </a:lnTo>
                <a:lnTo>
                  <a:pt x="233" y="198"/>
                </a:lnTo>
                <a:lnTo>
                  <a:pt x="238" y="202"/>
                </a:lnTo>
                <a:lnTo>
                  <a:pt x="241" y="205"/>
                </a:lnTo>
                <a:lnTo>
                  <a:pt x="244" y="208"/>
                </a:lnTo>
                <a:lnTo>
                  <a:pt x="247" y="211"/>
                </a:lnTo>
                <a:lnTo>
                  <a:pt x="250" y="214"/>
                </a:lnTo>
                <a:lnTo>
                  <a:pt x="254" y="217"/>
                </a:lnTo>
                <a:lnTo>
                  <a:pt x="256" y="221"/>
                </a:lnTo>
                <a:lnTo>
                  <a:pt x="259" y="225"/>
                </a:lnTo>
                <a:lnTo>
                  <a:pt x="262" y="227"/>
                </a:lnTo>
                <a:lnTo>
                  <a:pt x="265" y="231"/>
                </a:lnTo>
                <a:lnTo>
                  <a:pt x="267" y="234"/>
                </a:lnTo>
                <a:lnTo>
                  <a:pt x="269" y="238"/>
                </a:lnTo>
                <a:lnTo>
                  <a:pt x="272" y="241"/>
                </a:lnTo>
                <a:lnTo>
                  <a:pt x="274" y="245"/>
                </a:lnTo>
                <a:lnTo>
                  <a:pt x="277" y="247"/>
                </a:lnTo>
                <a:lnTo>
                  <a:pt x="279" y="251"/>
                </a:lnTo>
                <a:lnTo>
                  <a:pt x="281" y="255"/>
                </a:lnTo>
                <a:lnTo>
                  <a:pt x="284" y="258"/>
                </a:lnTo>
                <a:lnTo>
                  <a:pt x="286" y="262"/>
                </a:lnTo>
                <a:lnTo>
                  <a:pt x="287" y="265"/>
                </a:lnTo>
                <a:lnTo>
                  <a:pt x="290" y="269"/>
                </a:lnTo>
                <a:lnTo>
                  <a:pt x="292" y="272"/>
                </a:lnTo>
                <a:lnTo>
                  <a:pt x="293" y="276"/>
                </a:lnTo>
                <a:lnTo>
                  <a:pt x="295" y="280"/>
                </a:lnTo>
                <a:lnTo>
                  <a:pt x="297" y="283"/>
                </a:lnTo>
                <a:lnTo>
                  <a:pt x="298" y="287"/>
                </a:lnTo>
                <a:lnTo>
                  <a:pt x="301" y="290"/>
                </a:lnTo>
                <a:lnTo>
                  <a:pt x="302" y="294"/>
                </a:lnTo>
                <a:lnTo>
                  <a:pt x="304" y="298"/>
                </a:lnTo>
                <a:lnTo>
                  <a:pt x="304" y="301"/>
                </a:lnTo>
                <a:lnTo>
                  <a:pt x="307" y="305"/>
                </a:lnTo>
                <a:lnTo>
                  <a:pt x="308" y="308"/>
                </a:lnTo>
                <a:lnTo>
                  <a:pt x="309" y="312"/>
                </a:lnTo>
                <a:lnTo>
                  <a:pt x="310" y="316"/>
                </a:lnTo>
                <a:lnTo>
                  <a:pt x="311" y="319"/>
                </a:lnTo>
                <a:lnTo>
                  <a:pt x="312" y="323"/>
                </a:lnTo>
                <a:lnTo>
                  <a:pt x="314" y="326"/>
                </a:lnTo>
                <a:lnTo>
                  <a:pt x="314" y="330"/>
                </a:lnTo>
                <a:lnTo>
                  <a:pt x="315" y="334"/>
                </a:lnTo>
                <a:lnTo>
                  <a:pt x="316" y="336"/>
                </a:lnTo>
                <a:lnTo>
                  <a:pt x="317" y="341"/>
                </a:lnTo>
                <a:lnTo>
                  <a:pt x="318" y="344"/>
                </a:lnTo>
                <a:lnTo>
                  <a:pt x="318" y="347"/>
                </a:lnTo>
                <a:lnTo>
                  <a:pt x="318" y="350"/>
                </a:lnTo>
                <a:lnTo>
                  <a:pt x="320" y="354"/>
                </a:lnTo>
                <a:lnTo>
                  <a:pt x="321" y="357"/>
                </a:lnTo>
                <a:lnTo>
                  <a:pt x="321" y="361"/>
                </a:lnTo>
                <a:lnTo>
                  <a:pt x="322" y="365"/>
                </a:lnTo>
                <a:lnTo>
                  <a:pt x="323" y="368"/>
                </a:lnTo>
                <a:lnTo>
                  <a:pt x="323" y="371"/>
                </a:lnTo>
                <a:lnTo>
                  <a:pt x="323" y="374"/>
                </a:lnTo>
                <a:lnTo>
                  <a:pt x="324" y="377"/>
                </a:lnTo>
                <a:lnTo>
                  <a:pt x="324" y="380"/>
                </a:lnTo>
                <a:lnTo>
                  <a:pt x="324" y="384"/>
                </a:lnTo>
                <a:lnTo>
                  <a:pt x="326" y="386"/>
                </a:lnTo>
                <a:lnTo>
                  <a:pt x="326" y="390"/>
                </a:lnTo>
                <a:lnTo>
                  <a:pt x="327" y="393"/>
                </a:lnTo>
                <a:lnTo>
                  <a:pt x="327" y="398"/>
                </a:lnTo>
                <a:lnTo>
                  <a:pt x="328" y="405"/>
                </a:lnTo>
                <a:lnTo>
                  <a:pt x="328" y="410"/>
                </a:lnTo>
                <a:lnTo>
                  <a:pt x="328" y="416"/>
                </a:lnTo>
                <a:lnTo>
                  <a:pt x="328" y="418"/>
                </a:lnTo>
                <a:lnTo>
                  <a:pt x="328" y="421"/>
                </a:lnTo>
                <a:lnTo>
                  <a:pt x="328" y="423"/>
                </a:lnTo>
                <a:lnTo>
                  <a:pt x="328" y="428"/>
                </a:lnTo>
                <a:lnTo>
                  <a:pt x="328" y="432"/>
                </a:lnTo>
                <a:lnTo>
                  <a:pt x="327" y="436"/>
                </a:lnTo>
                <a:lnTo>
                  <a:pt x="327" y="441"/>
                </a:lnTo>
                <a:lnTo>
                  <a:pt x="326" y="447"/>
                </a:lnTo>
                <a:lnTo>
                  <a:pt x="324" y="452"/>
                </a:lnTo>
                <a:lnTo>
                  <a:pt x="323" y="458"/>
                </a:lnTo>
                <a:lnTo>
                  <a:pt x="322" y="462"/>
                </a:lnTo>
                <a:lnTo>
                  <a:pt x="322" y="465"/>
                </a:lnTo>
                <a:lnTo>
                  <a:pt x="321" y="469"/>
                </a:lnTo>
                <a:lnTo>
                  <a:pt x="321" y="471"/>
                </a:lnTo>
                <a:lnTo>
                  <a:pt x="320" y="475"/>
                </a:lnTo>
                <a:lnTo>
                  <a:pt x="320" y="478"/>
                </a:lnTo>
                <a:lnTo>
                  <a:pt x="318" y="482"/>
                </a:lnTo>
                <a:lnTo>
                  <a:pt x="318" y="485"/>
                </a:lnTo>
                <a:lnTo>
                  <a:pt x="316" y="489"/>
                </a:lnTo>
                <a:lnTo>
                  <a:pt x="316" y="494"/>
                </a:lnTo>
                <a:lnTo>
                  <a:pt x="315" y="497"/>
                </a:lnTo>
                <a:lnTo>
                  <a:pt x="315" y="501"/>
                </a:lnTo>
                <a:lnTo>
                  <a:pt x="312" y="505"/>
                </a:lnTo>
                <a:lnTo>
                  <a:pt x="311" y="508"/>
                </a:lnTo>
                <a:lnTo>
                  <a:pt x="310" y="512"/>
                </a:lnTo>
                <a:lnTo>
                  <a:pt x="309" y="517"/>
                </a:lnTo>
                <a:lnTo>
                  <a:pt x="307" y="519"/>
                </a:lnTo>
                <a:lnTo>
                  <a:pt x="307" y="524"/>
                </a:lnTo>
                <a:lnTo>
                  <a:pt x="304" y="527"/>
                </a:lnTo>
                <a:lnTo>
                  <a:pt x="303" y="532"/>
                </a:lnTo>
                <a:lnTo>
                  <a:pt x="301" y="536"/>
                </a:lnTo>
                <a:lnTo>
                  <a:pt x="299" y="541"/>
                </a:lnTo>
                <a:lnTo>
                  <a:pt x="297" y="543"/>
                </a:lnTo>
                <a:lnTo>
                  <a:pt x="296" y="548"/>
                </a:lnTo>
                <a:lnTo>
                  <a:pt x="293" y="552"/>
                </a:lnTo>
                <a:lnTo>
                  <a:pt x="292" y="556"/>
                </a:lnTo>
                <a:lnTo>
                  <a:pt x="290" y="560"/>
                </a:lnTo>
                <a:lnTo>
                  <a:pt x="287" y="564"/>
                </a:lnTo>
                <a:lnTo>
                  <a:pt x="285" y="568"/>
                </a:lnTo>
                <a:lnTo>
                  <a:pt x="283" y="572"/>
                </a:lnTo>
                <a:lnTo>
                  <a:pt x="280" y="576"/>
                </a:lnTo>
                <a:lnTo>
                  <a:pt x="278" y="580"/>
                </a:lnTo>
                <a:lnTo>
                  <a:pt x="275" y="584"/>
                </a:lnTo>
                <a:lnTo>
                  <a:pt x="272" y="588"/>
                </a:lnTo>
                <a:lnTo>
                  <a:pt x="269" y="592"/>
                </a:lnTo>
                <a:lnTo>
                  <a:pt x="267" y="596"/>
                </a:lnTo>
                <a:lnTo>
                  <a:pt x="263" y="599"/>
                </a:lnTo>
                <a:lnTo>
                  <a:pt x="261" y="604"/>
                </a:lnTo>
                <a:lnTo>
                  <a:pt x="257" y="606"/>
                </a:lnTo>
                <a:lnTo>
                  <a:pt x="255" y="611"/>
                </a:lnTo>
                <a:lnTo>
                  <a:pt x="251" y="615"/>
                </a:lnTo>
                <a:lnTo>
                  <a:pt x="248" y="617"/>
                </a:lnTo>
                <a:lnTo>
                  <a:pt x="244" y="621"/>
                </a:lnTo>
                <a:lnTo>
                  <a:pt x="241" y="625"/>
                </a:lnTo>
                <a:lnTo>
                  <a:pt x="239" y="625"/>
                </a:lnTo>
                <a:lnTo>
                  <a:pt x="237" y="628"/>
                </a:lnTo>
                <a:lnTo>
                  <a:pt x="235" y="630"/>
                </a:lnTo>
                <a:lnTo>
                  <a:pt x="233" y="631"/>
                </a:lnTo>
                <a:lnTo>
                  <a:pt x="230" y="634"/>
                </a:lnTo>
                <a:lnTo>
                  <a:pt x="227" y="637"/>
                </a:lnTo>
                <a:lnTo>
                  <a:pt x="223" y="640"/>
                </a:lnTo>
                <a:lnTo>
                  <a:pt x="219" y="643"/>
                </a:lnTo>
                <a:lnTo>
                  <a:pt x="214" y="647"/>
                </a:lnTo>
                <a:lnTo>
                  <a:pt x="211" y="652"/>
                </a:lnTo>
                <a:lnTo>
                  <a:pt x="205" y="654"/>
                </a:lnTo>
                <a:lnTo>
                  <a:pt x="199" y="659"/>
                </a:lnTo>
                <a:lnTo>
                  <a:pt x="193" y="663"/>
                </a:lnTo>
                <a:lnTo>
                  <a:pt x="187" y="667"/>
                </a:lnTo>
                <a:lnTo>
                  <a:pt x="183" y="669"/>
                </a:lnTo>
                <a:lnTo>
                  <a:pt x="180" y="671"/>
                </a:lnTo>
                <a:lnTo>
                  <a:pt x="176" y="673"/>
                </a:lnTo>
                <a:lnTo>
                  <a:pt x="174" y="676"/>
                </a:lnTo>
                <a:lnTo>
                  <a:pt x="169" y="677"/>
                </a:lnTo>
                <a:lnTo>
                  <a:pt x="165" y="678"/>
                </a:lnTo>
                <a:lnTo>
                  <a:pt x="162" y="681"/>
                </a:lnTo>
                <a:lnTo>
                  <a:pt x="157" y="683"/>
                </a:lnTo>
                <a:lnTo>
                  <a:pt x="152" y="685"/>
                </a:lnTo>
                <a:lnTo>
                  <a:pt x="148" y="687"/>
                </a:lnTo>
                <a:lnTo>
                  <a:pt x="144" y="689"/>
                </a:lnTo>
                <a:lnTo>
                  <a:pt x="139" y="690"/>
                </a:lnTo>
                <a:lnTo>
                  <a:pt x="134" y="691"/>
                </a:lnTo>
                <a:lnTo>
                  <a:pt x="129" y="694"/>
                </a:lnTo>
                <a:lnTo>
                  <a:pt x="126" y="695"/>
                </a:lnTo>
                <a:lnTo>
                  <a:pt x="121" y="697"/>
                </a:lnTo>
                <a:lnTo>
                  <a:pt x="115" y="698"/>
                </a:lnTo>
                <a:lnTo>
                  <a:pt x="110" y="701"/>
                </a:lnTo>
                <a:lnTo>
                  <a:pt x="104" y="701"/>
                </a:lnTo>
                <a:lnTo>
                  <a:pt x="99" y="703"/>
                </a:lnTo>
                <a:lnTo>
                  <a:pt x="93" y="704"/>
                </a:lnTo>
                <a:lnTo>
                  <a:pt x="89" y="706"/>
                </a:lnTo>
                <a:lnTo>
                  <a:pt x="83" y="707"/>
                </a:lnTo>
                <a:lnTo>
                  <a:pt x="77" y="708"/>
                </a:lnTo>
                <a:lnTo>
                  <a:pt x="71" y="708"/>
                </a:lnTo>
                <a:lnTo>
                  <a:pt x="65" y="709"/>
                </a:lnTo>
                <a:lnTo>
                  <a:pt x="57" y="710"/>
                </a:lnTo>
                <a:lnTo>
                  <a:pt x="53" y="712"/>
                </a:lnTo>
                <a:lnTo>
                  <a:pt x="45" y="712"/>
                </a:lnTo>
                <a:lnTo>
                  <a:pt x="39" y="713"/>
                </a:lnTo>
                <a:lnTo>
                  <a:pt x="32" y="713"/>
                </a:lnTo>
                <a:lnTo>
                  <a:pt x="26" y="714"/>
                </a:lnTo>
                <a:close/>
              </a:path>
            </a:pathLst>
          </a:custGeom>
          <a:solidFill>
            <a:srgbClr val="CED4FE"/>
          </a:solidFill>
          <a:ln w="9525" cap="flat" cmpd="sng">
            <a:noFill/>
            <a:prstDash val="solid"/>
            <a:round/>
            <a:headEnd type="none" w="med" len="med"/>
            <a:tailEnd type="none" w="med" len="med"/>
          </a:ln>
        </p:spPr>
        <p:txBody>
          <a:bodyPr/>
          <a:lstStyle/>
          <a:p>
            <a:endParaRPr lang="en-US"/>
          </a:p>
        </p:txBody>
      </p:sp>
      <p:sp>
        <p:nvSpPr>
          <p:cNvPr id="39940" name="Freeform 5"/>
          <p:cNvSpPr>
            <a:spLocks noChangeAspect="1"/>
          </p:cNvSpPr>
          <p:nvPr/>
        </p:nvSpPr>
        <p:spPr bwMode="gray">
          <a:xfrm rot="872276">
            <a:off x="3360738" y="2876550"/>
            <a:ext cx="1093787" cy="1978025"/>
          </a:xfrm>
          <a:custGeom>
            <a:avLst/>
            <a:gdLst>
              <a:gd name="T0" fmla="*/ 701209 w 443"/>
              <a:gd name="T1" fmla="*/ 173971 h 830"/>
              <a:gd name="T2" fmla="*/ 192586 w 443"/>
              <a:gd name="T3" fmla="*/ 395605 h 830"/>
              <a:gd name="T4" fmla="*/ 2469 w 443"/>
              <a:gd name="T5" fmla="*/ 886537 h 830"/>
              <a:gd name="T6" fmla="*/ 0 w 443"/>
              <a:gd name="T7" fmla="*/ 948499 h 830"/>
              <a:gd name="T8" fmla="*/ 0 w 443"/>
              <a:gd name="T9" fmla="*/ 1010461 h 830"/>
              <a:gd name="T10" fmla="*/ 0 w 443"/>
              <a:gd name="T11" fmla="*/ 1074806 h 830"/>
              <a:gd name="T12" fmla="*/ 325914 w 443"/>
              <a:gd name="T13" fmla="*/ 1544290 h 830"/>
              <a:gd name="T14" fmla="*/ 888856 w 443"/>
              <a:gd name="T15" fmla="*/ 1849334 h 830"/>
              <a:gd name="T16" fmla="*/ 1019716 w 443"/>
              <a:gd name="T17" fmla="*/ 1701578 h 830"/>
              <a:gd name="T18" fmla="*/ 965397 w 443"/>
              <a:gd name="T19" fmla="*/ 1699195 h 830"/>
              <a:gd name="T20" fmla="*/ 913547 w 443"/>
              <a:gd name="T21" fmla="*/ 1689662 h 830"/>
              <a:gd name="T22" fmla="*/ 871573 w 443"/>
              <a:gd name="T23" fmla="*/ 1682513 h 830"/>
              <a:gd name="T24" fmla="*/ 822192 w 443"/>
              <a:gd name="T25" fmla="*/ 1670597 h 830"/>
              <a:gd name="T26" fmla="*/ 770342 w 443"/>
              <a:gd name="T27" fmla="*/ 1656298 h 830"/>
              <a:gd name="T28" fmla="*/ 716023 w 443"/>
              <a:gd name="T29" fmla="*/ 1637233 h 830"/>
              <a:gd name="T30" fmla="*/ 661704 w 443"/>
              <a:gd name="T31" fmla="*/ 1611018 h 830"/>
              <a:gd name="T32" fmla="*/ 604916 w 443"/>
              <a:gd name="T33" fmla="*/ 1580037 h 830"/>
              <a:gd name="T34" fmla="*/ 555535 w 443"/>
              <a:gd name="T35" fmla="*/ 1541906 h 830"/>
              <a:gd name="T36" fmla="*/ 508623 w 443"/>
              <a:gd name="T37" fmla="*/ 1496626 h 830"/>
              <a:gd name="T38" fmla="*/ 466650 w 443"/>
              <a:gd name="T39" fmla="*/ 1458496 h 830"/>
              <a:gd name="T40" fmla="*/ 432083 w 443"/>
              <a:gd name="T41" fmla="*/ 1420365 h 830"/>
              <a:gd name="T42" fmla="*/ 402454 w 443"/>
              <a:gd name="T43" fmla="*/ 1379851 h 830"/>
              <a:gd name="T44" fmla="*/ 372826 w 443"/>
              <a:gd name="T45" fmla="*/ 1336954 h 830"/>
              <a:gd name="T46" fmla="*/ 350604 w 443"/>
              <a:gd name="T47" fmla="*/ 1294058 h 830"/>
              <a:gd name="T48" fmla="*/ 333321 w 443"/>
              <a:gd name="T49" fmla="*/ 1251161 h 830"/>
              <a:gd name="T50" fmla="*/ 318507 w 443"/>
              <a:gd name="T51" fmla="*/ 1208263 h 830"/>
              <a:gd name="T52" fmla="*/ 306162 w 443"/>
              <a:gd name="T53" fmla="*/ 1165366 h 830"/>
              <a:gd name="T54" fmla="*/ 296285 w 443"/>
              <a:gd name="T55" fmla="*/ 1124853 h 830"/>
              <a:gd name="T56" fmla="*/ 288878 w 443"/>
              <a:gd name="T57" fmla="*/ 1086722 h 830"/>
              <a:gd name="T58" fmla="*/ 283940 w 443"/>
              <a:gd name="T59" fmla="*/ 1031909 h 830"/>
              <a:gd name="T60" fmla="*/ 281471 w 443"/>
              <a:gd name="T61" fmla="*/ 972330 h 830"/>
              <a:gd name="T62" fmla="*/ 281471 w 443"/>
              <a:gd name="T63" fmla="*/ 929433 h 830"/>
              <a:gd name="T64" fmla="*/ 288878 w 443"/>
              <a:gd name="T65" fmla="*/ 869854 h 830"/>
              <a:gd name="T66" fmla="*/ 298754 w 443"/>
              <a:gd name="T67" fmla="*/ 826957 h 830"/>
              <a:gd name="T68" fmla="*/ 311100 w 443"/>
              <a:gd name="T69" fmla="*/ 786444 h 830"/>
              <a:gd name="T70" fmla="*/ 325914 w 443"/>
              <a:gd name="T71" fmla="*/ 741164 h 830"/>
              <a:gd name="T72" fmla="*/ 343197 w 443"/>
              <a:gd name="T73" fmla="*/ 688734 h 830"/>
              <a:gd name="T74" fmla="*/ 365419 w 443"/>
              <a:gd name="T75" fmla="*/ 643454 h 830"/>
              <a:gd name="T76" fmla="*/ 395047 w 443"/>
              <a:gd name="T77" fmla="*/ 595791 h 830"/>
              <a:gd name="T78" fmla="*/ 427145 w 443"/>
              <a:gd name="T79" fmla="*/ 552894 h 830"/>
              <a:gd name="T80" fmla="*/ 469119 w 443"/>
              <a:gd name="T81" fmla="*/ 509997 h 830"/>
              <a:gd name="T82" fmla="*/ 506154 w 443"/>
              <a:gd name="T83" fmla="*/ 479016 h 830"/>
              <a:gd name="T84" fmla="*/ 538252 w 443"/>
              <a:gd name="T85" fmla="*/ 443268 h 830"/>
              <a:gd name="T86" fmla="*/ 597509 w 443"/>
              <a:gd name="T87" fmla="*/ 400371 h 830"/>
              <a:gd name="T88" fmla="*/ 634545 w 443"/>
              <a:gd name="T89" fmla="*/ 378923 h 830"/>
              <a:gd name="T90" fmla="*/ 678988 w 443"/>
              <a:gd name="T91" fmla="*/ 352708 h 830"/>
              <a:gd name="T92" fmla="*/ 733307 w 443"/>
              <a:gd name="T93" fmla="*/ 326493 h 830"/>
              <a:gd name="T94" fmla="*/ 792564 w 443"/>
              <a:gd name="T95" fmla="*/ 309811 h 830"/>
              <a:gd name="T96" fmla="*/ 856759 w 443"/>
              <a:gd name="T97" fmla="*/ 290746 h 830"/>
              <a:gd name="T98" fmla="*/ 930830 w 443"/>
              <a:gd name="T99" fmla="*/ 278830 h 830"/>
              <a:gd name="T100" fmla="*/ 1007370 w 443"/>
              <a:gd name="T101" fmla="*/ 274064 h 83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43"/>
              <a:gd name="T154" fmla="*/ 0 h 830"/>
              <a:gd name="T155" fmla="*/ 443 w 443"/>
              <a:gd name="T156" fmla="*/ 830 h 83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43" h="830">
                <a:moveTo>
                  <a:pt x="415" y="115"/>
                </a:moveTo>
                <a:lnTo>
                  <a:pt x="414" y="0"/>
                </a:lnTo>
                <a:lnTo>
                  <a:pt x="376" y="0"/>
                </a:lnTo>
                <a:lnTo>
                  <a:pt x="362" y="51"/>
                </a:lnTo>
                <a:lnTo>
                  <a:pt x="284" y="73"/>
                </a:lnTo>
                <a:lnTo>
                  <a:pt x="232" y="37"/>
                </a:lnTo>
                <a:lnTo>
                  <a:pt x="176" y="71"/>
                </a:lnTo>
                <a:lnTo>
                  <a:pt x="178" y="130"/>
                </a:lnTo>
                <a:lnTo>
                  <a:pt x="136" y="176"/>
                </a:lnTo>
                <a:lnTo>
                  <a:pt x="78" y="166"/>
                </a:lnTo>
                <a:lnTo>
                  <a:pt x="39" y="231"/>
                </a:lnTo>
                <a:lnTo>
                  <a:pt x="73" y="278"/>
                </a:lnTo>
                <a:lnTo>
                  <a:pt x="50" y="360"/>
                </a:lnTo>
                <a:lnTo>
                  <a:pt x="1" y="368"/>
                </a:lnTo>
                <a:lnTo>
                  <a:pt x="1" y="372"/>
                </a:lnTo>
                <a:lnTo>
                  <a:pt x="0" y="378"/>
                </a:lnTo>
                <a:lnTo>
                  <a:pt x="0" y="383"/>
                </a:lnTo>
                <a:lnTo>
                  <a:pt x="0" y="387"/>
                </a:lnTo>
                <a:lnTo>
                  <a:pt x="0" y="393"/>
                </a:lnTo>
                <a:lnTo>
                  <a:pt x="0" y="398"/>
                </a:lnTo>
                <a:lnTo>
                  <a:pt x="0" y="403"/>
                </a:lnTo>
                <a:lnTo>
                  <a:pt x="0" y="409"/>
                </a:lnTo>
                <a:lnTo>
                  <a:pt x="0" y="414"/>
                </a:lnTo>
                <a:lnTo>
                  <a:pt x="0" y="420"/>
                </a:lnTo>
                <a:lnTo>
                  <a:pt x="0" y="424"/>
                </a:lnTo>
                <a:lnTo>
                  <a:pt x="0" y="429"/>
                </a:lnTo>
                <a:lnTo>
                  <a:pt x="0" y="434"/>
                </a:lnTo>
                <a:lnTo>
                  <a:pt x="0" y="440"/>
                </a:lnTo>
                <a:lnTo>
                  <a:pt x="0" y="445"/>
                </a:lnTo>
                <a:lnTo>
                  <a:pt x="0" y="451"/>
                </a:lnTo>
                <a:lnTo>
                  <a:pt x="51" y="465"/>
                </a:lnTo>
                <a:lnTo>
                  <a:pt x="73" y="543"/>
                </a:lnTo>
                <a:lnTo>
                  <a:pt x="43" y="603"/>
                </a:lnTo>
                <a:lnTo>
                  <a:pt x="60" y="635"/>
                </a:lnTo>
                <a:lnTo>
                  <a:pt x="132" y="648"/>
                </a:lnTo>
                <a:lnTo>
                  <a:pt x="175" y="690"/>
                </a:lnTo>
                <a:lnTo>
                  <a:pt x="181" y="760"/>
                </a:lnTo>
                <a:lnTo>
                  <a:pt x="215" y="781"/>
                </a:lnTo>
                <a:lnTo>
                  <a:pt x="279" y="754"/>
                </a:lnTo>
                <a:lnTo>
                  <a:pt x="360" y="776"/>
                </a:lnTo>
                <a:lnTo>
                  <a:pt x="393" y="830"/>
                </a:lnTo>
                <a:lnTo>
                  <a:pt x="417" y="828"/>
                </a:lnTo>
                <a:lnTo>
                  <a:pt x="443" y="775"/>
                </a:lnTo>
                <a:lnTo>
                  <a:pt x="414" y="714"/>
                </a:lnTo>
                <a:lnTo>
                  <a:pt x="413" y="714"/>
                </a:lnTo>
                <a:lnTo>
                  <a:pt x="408" y="714"/>
                </a:lnTo>
                <a:lnTo>
                  <a:pt x="403" y="714"/>
                </a:lnTo>
                <a:lnTo>
                  <a:pt x="401" y="714"/>
                </a:lnTo>
                <a:lnTo>
                  <a:pt x="396" y="713"/>
                </a:lnTo>
                <a:lnTo>
                  <a:pt x="391" y="713"/>
                </a:lnTo>
                <a:lnTo>
                  <a:pt x="387" y="712"/>
                </a:lnTo>
                <a:lnTo>
                  <a:pt x="381" y="710"/>
                </a:lnTo>
                <a:lnTo>
                  <a:pt x="377" y="710"/>
                </a:lnTo>
                <a:lnTo>
                  <a:pt x="373" y="709"/>
                </a:lnTo>
                <a:lnTo>
                  <a:pt x="370" y="709"/>
                </a:lnTo>
                <a:lnTo>
                  <a:pt x="368" y="709"/>
                </a:lnTo>
                <a:lnTo>
                  <a:pt x="364" y="708"/>
                </a:lnTo>
                <a:lnTo>
                  <a:pt x="360" y="707"/>
                </a:lnTo>
                <a:lnTo>
                  <a:pt x="356" y="707"/>
                </a:lnTo>
                <a:lnTo>
                  <a:pt x="353" y="706"/>
                </a:lnTo>
                <a:lnTo>
                  <a:pt x="348" y="704"/>
                </a:lnTo>
                <a:lnTo>
                  <a:pt x="345" y="704"/>
                </a:lnTo>
                <a:lnTo>
                  <a:pt x="341" y="703"/>
                </a:lnTo>
                <a:lnTo>
                  <a:pt x="338" y="702"/>
                </a:lnTo>
                <a:lnTo>
                  <a:pt x="333" y="701"/>
                </a:lnTo>
                <a:lnTo>
                  <a:pt x="329" y="700"/>
                </a:lnTo>
                <a:lnTo>
                  <a:pt x="324" y="698"/>
                </a:lnTo>
                <a:lnTo>
                  <a:pt x="321" y="697"/>
                </a:lnTo>
                <a:lnTo>
                  <a:pt x="316" y="696"/>
                </a:lnTo>
                <a:lnTo>
                  <a:pt x="312" y="695"/>
                </a:lnTo>
                <a:lnTo>
                  <a:pt x="308" y="693"/>
                </a:lnTo>
                <a:lnTo>
                  <a:pt x="304" y="691"/>
                </a:lnTo>
                <a:lnTo>
                  <a:pt x="299" y="689"/>
                </a:lnTo>
                <a:lnTo>
                  <a:pt x="294" y="688"/>
                </a:lnTo>
                <a:lnTo>
                  <a:pt x="290" y="687"/>
                </a:lnTo>
                <a:lnTo>
                  <a:pt x="286" y="684"/>
                </a:lnTo>
                <a:lnTo>
                  <a:pt x="281" y="682"/>
                </a:lnTo>
                <a:lnTo>
                  <a:pt x="276" y="679"/>
                </a:lnTo>
                <a:lnTo>
                  <a:pt x="272" y="677"/>
                </a:lnTo>
                <a:lnTo>
                  <a:pt x="268" y="676"/>
                </a:lnTo>
                <a:lnTo>
                  <a:pt x="263" y="673"/>
                </a:lnTo>
                <a:lnTo>
                  <a:pt x="259" y="671"/>
                </a:lnTo>
                <a:lnTo>
                  <a:pt x="255" y="667"/>
                </a:lnTo>
                <a:lnTo>
                  <a:pt x="250" y="665"/>
                </a:lnTo>
                <a:lnTo>
                  <a:pt x="245" y="663"/>
                </a:lnTo>
                <a:lnTo>
                  <a:pt x="242" y="659"/>
                </a:lnTo>
                <a:lnTo>
                  <a:pt x="237" y="657"/>
                </a:lnTo>
                <a:lnTo>
                  <a:pt x="233" y="653"/>
                </a:lnTo>
                <a:lnTo>
                  <a:pt x="229" y="651"/>
                </a:lnTo>
                <a:lnTo>
                  <a:pt x="225" y="647"/>
                </a:lnTo>
                <a:lnTo>
                  <a:pt x="220" y="643"/>
                </a:lnTo>
                <a:lnTo>
                  <a:pt x="218" y="640"/>
                </a:lnTo>
                <a:lnTo>
                  <a:pt x="213" y="636"/>
                </a:lnTo>
                <a:lnTo>
                  <a:pt x="209" y="633"/>
                </a:lnTo>
                <a:lnTo>
                  <a:pt x="206" y="628"/>
                </a:lnTo>
                <a:lnTo>
                  <a:pt x="202" y="625"/>
                </a:lnTo>
                <a:lnTo>
                  <a:pt x="199" y="622"/>
                </a:lnTo>
                <a:lnTo>
                  <a:pt x="196" y="618"/>
                </a:lnTo>
                <a:lnTo>
                  <a:pt x="193" y="615"/>
                </a:lnTo>
                <a:lnTo>
                  <a:pt x="189" y="612"/>
                </a:lnTo>
                <a:lnTo>
                  <a:pt x="185" y="609"/>
                </a:lnTo>
                <a:lnTo>
                  <a:pt x="183" y="605"/>
                </a:lnTo>
                <a:lnTo>
                  <a:pt x="181" y="603"/>
                </a:lnTo>
                <a:lnTo>
                  <a:pt x="178" y="599"/>
                </a:lnTo>
                <a:lnTo>
                  <a:pt x="175" y="596"/>
                </a:lnTo>
                <a:lnTo>
                  <a:pt x="172" y="592"/>
                </a:lnTo>
                <a:lnTo>
                  <a:pt x="170" y="590"/>
                </a:lnTo>
                <a:lnTo>
                  <a:pt x="167" y="586"/>
                </a:lnTo>
                <a:lnTo>
                  <a:pt x="165" y="582"/>
                </a:lnTo>
                <a:lnTo>
                  <a:pt x="163" y="579"/>
                </a:lnTo>
                <a:lnTo>
                  <a:pt x="160" y="575"/>
                </a:lnTo>
                <a:lnTo>
                  <a:pt x="159" y="572"/>
                </a:lnTo>
                <a:lnTo>
                  <a:pt x="156" y="568"/>
                </a:lnTo>
                <a:lnTo>
                  <a:pt x="153" y="564"/>
                </a:lnTo>
                <a:lnTo>
                  <a:pt x="151" y="561"/>
                </a:lnTo>
                <a:lnTo>
                  <a:pt x="150" y="557"/>
                </a:lnTo>
                <a:lnTo>
                  <a:pt x="148" y="554"/>
                </a:lnTo>
                <a:lnTo>
                  <a:pt x="146" y="550"/>
                </a:lnTo>
                <a:lnTo>
                  <a:pt x="145" y="547"/>
                </a:lnTo>
                <a:lnTo>
                  <a:pt x="142" y="543"/>
                </a:lnTo>
                <a:lnTo>
                  <a:pt x="141" y="539"/>
                </a:lnTo>
                <a:lnTo>
                  <a:pt x="139" y="536"/>
                </a:lnTo>
                <a:lnTo>
                  <a:pt x="138" y="532"/>
                </a:lnTo>
                <a:lnTo>
                  <a:pt x="136" y="529"/>
                </a:lnTo>
                <a:lnTo>
                  <a:pt x="135" y="525"/>
                </a:lnTo>
                <a:lnTo>
                  <a:pt x="134" y="521"/>
                </a:lnTo>
                <a:lnTo>
                  <a:pt x="133" y="518"/>
                </a:lnTo>
                <a:lnTo>
                  <a:pt x="132" y="515"/>
                </a:lnTo>
                <a:lnTo>
                  <a:pt x="130" y="511"/>
                </a:lnTo>
                <a:lnTo>
                  <a:pt x="129" y="507"/>
                </a:lnTo>
                <a:lnTo>
                  <a:pt x="128" y="503"/>
                </a:lnTo>
                <a:lnTo>
                  <a:pt x="127" y="500"/>
                </a:lnTo>
                <a:lnTo>
                  <a:pt x="126" y="496"/>
                </a:lnTo>
                <a:lnTo>
                  <a:pt x="126" y="493"/>
                </a:lnTo>
                <a:lnTo>
                  <a:pt x="124" y="489"/>
                </a:lnTo>
                <a:lnTo>
                  <a:pt x="123" y="485"/>
                </a:lnTo>
                <a:lnTo>
                  <a:pt x="122" y="482"/>
                </a:lnTo>
                <a:lnTo>
                  <a:pt x="122" y="479"/>
                </a:lnTo>
                <a:lnTo>
                  <a:pt x="121" y="476"/>
                </a:lnTo>
                <a:lnTo>
                  <a:pt x="120" y="472"/>
                </a:lnTo>
                <a:lnTo>
                  <a:pt x="120" y="469"/>
                </a:lnTo>
                <a:lnTo>
                  <a:pt x="118" y="465"/>
                </a:lnTo>
                <a:lnTo>
                  <a:pt x="118" y="462"/>
                </a:lnTo>
                <a:lnTo>
                  <a:pt x="118" y="459"/>
                </a:lnTo>
                <a:lnTo>
                  <a:pt x="117" y="456"/>
                </a:lnTo>
                <a:lnTo>
                  <a:pt x="116" y="452"/>
                </a:lnTo>
                <a:lnTo>
                  <a:pt x="116" y="448"/>
                </a:lnTo>
                <a:lnTo>
                  <a:pt x="116" y="445"/>
                </a:lnTo>
                <a:lnTo>
                  <a:pt x="115" y="439"/>
                </a:lnTo>
                <a:lnTo>
                  <a:pt x="115" y="433"/>
                </a:lnTo>
                <a:lnTo>
                  <a:pt x="114" y="427"/>
                </a:lnTo>
                <a:lnTo>
                  <a:pt x="114" y="421"/>
                </a:lnTo>
                <a:lnTo>
                  <a:pt x="114" y="416"/>
                </a:lnTo>
                <a:lnTo>
                  <a:pt x="114" y="411"/>
                </a:lnTo>
                <a:lnTo>
                  <a:pt x="114" y="408"/>
                </a:lnTo>
                <a:lnTo>
                  <a:pt x="114" y="405"/>
                </a:lnTo>
                <a:lnTo>
                  <a:pt x="114" y="402"/>
                </a:lnTo>
                <a:lnTo>
                  <a:pt x="114" y="398"/>
                </a:lnTo>
                <a:lnTo>
                  <a:pt x="114" y="395"/>
                </a:lnTo>
                <a:lnTo>
                  <a:pt x="114" y="390"/>
                </a:lnTo>
                <a:lnTo>
                  <a:pt x="115" y="385"/>
                </a:lnTo>
                <a:lnTo>
                  <a:pt x="116" y="380"/>
                </a:lnTo>
                <a:lnTo>
                  <a:pt x="116" y="373"/>
                </a:lnTo>
                <a:lnTo>
                  <a:pt x="117" y="368"/>
                </a:lnTo>
                <a:lnTo>
                  <a:pt x="117" y="365"/>
                </a:lnTo>
                <a:lnTo>
                  <a:pt x="118" y="361"/>
                </a:lnTo>
                <a:lnTo>
                  <a:pt x="118" y="357"/>
                </a:lnTo>
                <a:lnTo>
                  <a:pt x="120" y="355"/>
                </a:lnTo>
                <a:lnTo>
                  <a:pt x="120" y="350"/>
                </a:lnTo>
                <a:lnTo>
                  <a:pt x="121" y="347"/>
                </a:lnTo>
                <a:lnTo>
                  <a:pt x="122" y="344"/>
                </a:lnTo>
                <a:lnTo>
                  <a:pt x="123" y="341"/>
                </a:lnTo>
                <a:lnTo>
                  <a:pt x="123" y="336"/>
                </a:lnTo>
                <a:lnTo>
                  <a:pt x="124" y="334"/>
                </a:lnTo>
                <a:lnTo>
                  <a:pt x="126" y="330"/>
                </a:lnTo>
                <a:lnTo>
                  <a:pt x="127" y="326"/>
                </a:lnTo>
                <a:lnTo>
                  <a:pt x="128" y="322"/>
                </a:lnTo>
                <a:lnTo>
                  <a:pt x="129" y="318"/>
                </a:lnTo>
                <a:lnTo>
                  <a:pt x="130" y="313"/>
                </a:lnTo>
                <a:lnTo>
                  <a:pt x="132" y="311"/>
                </a:lnTo>
                <a:lnTo>
                  <a:pt x="133" y="306"/>
                </a:lnTo>
                <a:lnTo>
                  <a:pt x="134" y="302"/>
                </a:lnTo>
                <a:lnTo>
                  <a:pt x="136" y="298"/>
                </a:lnTo>
                <a:lnTo>
                  <a:pt x="138" y="294"/>
                </a:lnTo>
                <a:lnTo>
                  <a:pt x="139" y="289"/>
                </a:lnTo>
                <a:lnTo>
                  <a:pt x="141" y="286"/>
                </a:lnTo>
                <a:lnTo>
                  <a:pt x="142" y="282"/>
                </a:lnTo>
                <a:lnTo>
                  <a:pt x="145" y="278"/>
                </a:lnTo>
                <a:lnTo>
                  <a:pt x="146" y="274"/>
                </a:lnTo>
                <a:lnTo>
                  <a:pt x="148" y="270"/>
                </a:lnTo>
                <a:lnTo>
                  <a:pt x="151" y="266"/>
                </a:lnTo>
                <a:lnTo>
                  <a:pt x="153" y="263"/>
                </a:lnTo>
                <a:lnTo>
                  <a:pt x="156" y="258"/>
                </a:lnTo>
                <a:lnTo>
                  <a:pt x="158" y="255"/>
                </a:lnTo>
                <a:lnTo>
                  <a:pt x="160" y="250"/>
                </a:lnTo>
                <a:lnTo>
                  <a:pt x="163" y="247"/>
                </a:lnTo>
                <a:lnTo>
                  <a:pt x="165" y="243"/>
                </a:lnTo>
                <a:lnTo>
                  <a:pt x="167" y="239"/>
                </a:lnTo>
                <a:lnTo>
                  <a:pt x="171" y="235"/>
                </a:lnTo>
                <a:lnTo>
                  <a:pt x="173" y="232"/>
                </a:lnTo>
                <a:lnTo>
                  <a:pt x="177" y="227"/>
                </a:lnTo>
                <a:lnTo>
                  <a:pt x="179" y="225"/>
                </a:lnTo>
                <a:lnTo>
                  <a:pt x="183" y="221"/>
                </a:lnTo>
                <a:lnTo>
                  <a:pt x="187" y="217"/>
                </a:lnTo>
                <a:lnTo>
                  <a:pt x="190" y="214"/>
                </a:lnTo>
                <a:lnTo>
                  <a:pt x="194" y="210"/>
                </a:lnTo>
                <a:lnTo>
                  <a:pt x="197" y="207"/>
                </a:lnTo>
                <a:lnTo>
                  <a:pt x="201" y="204"/>
                </a:lnTo>
                <a:lnTo>
                  <a:pt x="202" y="203"/>
                </a:lnTo>
                <a:lnTo>
                  <a:pt x="205" y="201"/>
                </a:lnTo>
                <a:lnTo>
                  <a:pt x="206" y="198"/>
                </a:lnTo>
                <a:lnTo>
                  <a:pt x="208" y="196"/>
                </a:lnTo>
                <a:lnTo>
                  <a:pt x="211" y="192"/>
                </a:lnTo>
                <a:lnTo>
                  <a:pt x="214" y="190"/>
                </a:lnTo>
                <a:lnTo>
                  <a:pt x="218" y="186"/>
                </a:lnTo>
                <a:lnTo>
                  <a:pt x="221" y="184"/>
                </a:lnTo>
                <a:lnTo>
                  <a:pt x="226" y="179"/>
                </a:lnTo>
                <a:lnTo>
                  <a:pt x="231" y="176"/>
                </a:lnTo>
                <a:lnTo>
                  <a:pt x="236" y="172"/>
                </a:lnTo>
                <a:lnTo>
                  <a:pt x="242" y="168"/>
                </a:lnTo>
                <a:lnTo>
                  <a:pt x="244" y="166"/>
                </a:lnTo>
                <a:lnTo>
                  <a:pt x="248" y="164"/>
                </a:lnTo>
                <a:lnTo>
                  <a:pt x="251" y="162"/>
                </a:lnTo>
                <a:lnTo>
                  <a:pt x="255" y="161"/>
                </a:lnTo>
                <a:lnTo>
                  <a:pt x="257" y="159"/>
                </a:lnTo>
                <a:lnTo>
                  <a:pt x="261" y="156"/>
                </a:lnTo>
                <a:lnTo>
                  <a:pt x="264" y="154"/>
                </a:lnTo>
                <a:lnTo>
                  <a:pt x="268" y="152"/>
                </a:lnTo>
                <a:lnTo>
                  <a:pt x="272" y="150"/>
                </a:lnTo>
                <a:lnTo>
                  <a:pt x="275" y="148"/>
                </a:lnTo>
                <a:lnTo>
                  <a:pt x="280" y="146"/>
                </a:lnTo>
                <a:lnTo>
                  <a:pt x="284" y="144"/>
                </a:lnTo>
                <a:lnTo>
                  <a:pt x="288" y="142"/>
                </a:lnTo>
                <a:lnTo>
                  <a:pt x="292" y="140"/>
                </a:lnTo>
                <a:lnTo>
                  <a:pt x="297" y="137"/>
                </a:lnTo>
                <a:lnTo>
                  <a:pt x="302" y="136"/>
                </a:lnTo>
                <a:lnTo>
                  <a:pt x="305" y="135"/>
                </a:lnTo>
                <a:lnTo>
                  <a:pt x="311" y="132"/>
                </a:lnTo>
                <a:lnTo>
                  <a:pt x="316" y="131"/>
                </a:lnTo>
                <a:lnTo>
                  <a:pt x="321" y="130"/>
                </a:lnTo>
                <a:lnTo>
                  <a:pt x="326" y="128"/>
                </a:lnTo>
                <a:lnTo>
                  <a:pt x="330" y="126"/>
                </a:lnTo>
                <a:lnTo>
                  <a:pt x="336" y="125"/>
                </a:lnTo>
                <a:lnTo>
                  <a:pt x="341" y="124"/>
                </a:lnTo>
                <a:lnTo>
                  <a:pt x="347" y="122"/>
                </a:lnTo>
                <a:lnTo>
                  <a:pt x="353" y="120"/>
                </a:lnTo>
                <a:lnTo>
                  <a:pt x="358" y="119"/>
                </a:lnTo>
                <a:lnTo>
                  <a:pt x="365" y="119"/>
                </a:lnTo>
                <a:lnTo>
                  <a:pt x="370" y="117"/>
                </a:lnTo>
                <a:lnTo>
                  <a:pt x="377" y="117"/>
                </a:lnTo>
                <a:lnTo>
                  <a:pt x="382" y="116"/>
                </a:lnTo>
                <a:lnTo>
                  <a:pt x="389" y="116"/>
                </a:lnTo>
                <a:lnTo>
                  <a:pt x="395" y="115"/>
                </a:lnTo>
                <a:lnTo>
                  <a:pt x="401" y="115"/>
                </a:lnTo>
                <a:lnTo>
                  <a:pt x="408" y="115"/>
                </a:lnTo>
                <a:lnTo>
                  <a:pt x="415" y="115"/>
                </a:lnTo>
                <a:close/>
              </a:path>
            </a:pathLst>
          </a:custGeom>
          <a:solidFill>
            <a:srgbClr val="CED4FE"/>
          </a:solidFill>
          <a:ln w="9525" cap="flat" cmpd="sng">
            <a:noFill/>
            <a:prstDash val="solid"/>
            <a:round/>
            <a:headEnd type="none" w="med" len="med"/>
            <a:tailEnd type="none" w="med" len="med"/>
          </a:ln>
        </p:spPr>
        <p:txBody>
          <a:bodyPr/>
          <a:lstStyle/>
          <a:p>
            <a:endParaRPr lang="en-US"/>
          </a:p>
        </p:txBody>
      </p:sp>
      <p:sp>
        <p:nvSpPr>
          <p:cNvPr id="39941" name="Oval 7"/>
          <p:cNvSpPr>
            <a:spLocks noChangeArrowheads="1"/>
          </p:cNvSpPr>
          <p:nvPr/>
        </p:nvSpPr>
        <p:spPr bwMode="gray">
          <a:xfrm>
            <a:off x="3570288" y="3198813"/>
            <a:ext cx="1595437" cy="1573212"/>
          </a:xfrm>
          <a:prstGeom prst="ellipse">
            <a:avLst/>
          </a:prstGeom>
          <a:solidFill>
            <a:srgbClr val="CED4FE"/>
          </a:solidFill>
          <a:ln w="28575">
            <a:solidFill>
              <a:srgbClr val="C3CAFD"/>
            </a:solidFill>
            <a:round/>
            <a:headEnd/>
            <a:tailEnd/>
          </a:ln>
        </p:spPr>
        <p:txBody>
          <a:bodyPr/>
          <a:lstStyle/>
          <a:p>
            <a:endParaRPr lang="en-US" sz="1400"/>
          </a:p>
        </p:txBody>
      </p:sp>
      <p:sp>
        <p:nvSpPr>
          <p:cNvPr id="39942" name="Oval 8"/>
          <p:cNvSpPr>
            <a:spLocks noChangeArrowheads="1"/>
          </p:cNvSpPr>
          <p:nvPr/>
        </p:nvSpPr>
        <p:spPr bwMode="gray">
          <a:xfrm flipV="1">
            <a:off x="4267200" y="3897313"/>
            <a:ext cx="222250" cy="219075"/>
          </a:xfrm>
          <a:prstGeom prst="ellipse">
            <a:avLst/>
          </a:prstGeom>
          <a:solidFill>
            <a:srgbClr val="CED4FE"/>
          </a:solidFill>
          <a:ln w="28575">
            <a:solidFill>
              <a:srgbClr val="C3CAFD"/>
            </a:solidFill>
            <a:round/>
            <a:headEnd/>
            <a:tailEnd/>
          </a:ln>
        </p:spPr>
        <p:txBody>
          <a:bodyPr/>
          <a:lstStyle/>
          <a:p>
            <a:endParaRPr lang="en-US"/>
          </a:p>
        </p:txBody>
      </p:sp>
      <p:sp>
        <p:nvSpPr>
          <p:cNvPr id="39943" name="Oval 9"/>
          <p:cNvSpPr>
            <a:spLocks noChangeArrowheads="1"/>
          </p:cNvSpPr>
          <p:nvPr/>
        </p:nvSpPr>
        <p:spPr bwMode="gray">
          <a:xfrm flipV="1">
            <a:off x="4222750" y="3908425"/>
            <a:ext cx="223838" cy="219075"/>
          </a:xfrm>
          <a:prstGeom prst="ellipse">
            <a:avLst/>
          </a:prstGeom>
          <a:solidFill>
            <a:srgbClr val="C3CAFD"/>
          </a:solidFill>
          <a:ln w="28575">
            <a:solidFill>
              <a:srgbClr val="C3CAFD"/>
            </a:solidFill>
            <a:round/>
            <a:headEnd/>
            <a:tailEnd/>
          </a:ln>
        </p:spPr>
        <p:txBody>
          <a:bodyPr/>
          <a:lstStyle/>
          <a:p>
            <a:endParaRPr lang="en-US"/>
          </a:p>
        </p:txBody>
      </p:sp>
      <p:sp>
        <p:nvSpPr>
          <p:cNvPr id="39944" name="Text Box 10"/>
          <p:cNvSpPr txBox="1">
            <a:spLocks noChangeArrowheads="1"/>
          </p:cNvSpPr>
          <p:nvPr/>
        </p:nvSpPr>
        <p:spPr bwMode="gray">
          <a:xfrm>
            <a:off x="3792538" y="3538538"/>
            <a:ext cx="1168400" cy="915987"/>
          </a:xfrm>
          <a:prstGeom prst="rect">
            <a:avLst/>
          </a:prstGeom>
          <a:noFill/>
          <a:ln w="12700">
            <a:noFill/>
            <a:miter lim="800000"/>
            <a:headEnd/>
            <a:tailEnd/>
          </a:ln>
        </p:spPr>
        <p:txBody>
          <a:bodyPr>
            <a:spAutoFit/>
          </a:bodyPr>
          <a:lstStyle/>
          <a:p>
            <a:pPr algn="ctr" eaLnBrk="0" hangingPunct="0"/>
            <a:r>
              <a:rPr lang="en-US" b="1">
                <a:solidFill>
                  <a:schemeClr val="tx2"/>
                </a:solidFill>
              </a:rPr>
              <a:t>ALCS Program/Project</a:t>
            </a:r>
          </a:p>
        </p:txBody>
      </p:sp>
      <p:sp>
        <p:nvSpPr>
          <p:cNvPr id="39945" name="Freeform 18"/>
          <p:cNvSpPr>
            <a:spLocks noChangeAspect="1"/>
          </p:cNvSpPr>
          <p:nvPr/>
        </p:nvSpPr>
        <p:spPr bwMode="gray">
          <a:xfrm>
            <a:off x="4286250" y="1143000"/>
            <a:ext cx="1066800" cy="1944688"/>
          </a:xfrm>
          <a:custGeom>
            <a:avLst/>
            <a:gdLst>
              <a:gd name="T0" fmla="*/ 381866 w 528"/>
              <a:gd name="T1" fmla="*/ 1770039 h 991"/>
              <a:gd name="T2" fmla="*/ 876877 w 528"/>
              <a:gd name="T3" fmla="*/ 1550256 h 991"/>
              <a:gd name="T4" fmla="*/ 1066800 w 528"/>
              <a:gd name="T5" fmla="*/ 1073405 h 991"/>
              <a:gd name="T6" fmla="*/ 1066800 w 528"/>
              <a:gd name="T7" fmla="*/ 1040045 h 991"/>
              <a:gd name="T8" fmla="*/ 1066800 w 528"/>
              <a:gd name="T9" fmla="*/ 1012572 h 991"/>
              <a:gd name="T10" fmla="*/ 1066800 w 528"/>
              <a:gd name="T11" fmla="*/ 967438 h 991"/>
              <a:gd name="T12" fmla="*/ 1066800 w 528"/>
              <a:gd name="T13" fmla="*/ 939965 h 991"/>
              <a:gd name="T14" fmla="*/ 1066800 w 528"/>
              <a:gd name="T15" fmla="*/ 885019 h 991"/>
              <a:gd name="T16" fmla="*/ 753629 w 528"/>
              <a:gd name="T17" fmla="*/ 423867 h 991"/>
              <a:gd name="T18" fmla="*/ 198005 w 528"/>
              <a:gd name="T19" fmla="*/ 121666 h 991"/>
              <a:gd name="T20" fmla="*/ 70716 w 528"/>
              <a:gd name="T21" fmla="*/ 270804 h 991"/>
              <a:gd name="T22" fmla="*/ 107084 w 528"/>
              <a:gd name="T23" fmla="*/ 270804 h 991"/>
              <a:gd name="T24" fmla="*/ 145473 w 528"/>
              <a:gd name="T25" fmla="*/ 274729 h 991"/>
              <a:gd name="T26" fmla="*/ 183861 w 528"/>
              <a:gd name="T27" fmla="*/ 280616 h 991"/>
              <a:gd name="T28" fmla="*/ 230332 w 528"/>
              <a:gd name="T29" fmla="*/ 292390 h 991"/>
              <a:gd name="T30" fmla="*/ 278823 w 528"/>
              <a:gd name="T31" fmla="*/ 304164 h 991"/>
              <a:gd name="T32" fmla="*/ 331355 w 528"/>
              <a:gd name="T33" fmla="*/ 319863 h 991"/>
              <a:gd name="T34" fmla="*/ 381866 w 528"/>
              <a:gd name="T35" fmla="*/ 341449 h 991"/>
              <a:gd name="T36" fmla="*/ 438439 w 528"/>
              <a:gd name="T37" fmla="*/ 368922 h 991"/>
              <a:gd name="T38" fmla="*/ 488950 w 528"/>
              <a:gd name="T39" fmla="*/ 402282 h 991"/>
              <a:gd name="T40" fmla="*/ 537441 w 528"/>
              <a:gd name="T41" fmla="*/ 441529 h 991"/>
              <a:gd name="T42" fmla="*/ 583911 w 528"/>
              <a:gd name="T43" fmla="*/ 486663 h 991"/>
              <a:gd name="T44" fmla="*/ 622300 w 528"/>
              <a:gd name="T45" fmla="*/ 521985 h 991"/>
              <a:gd name="T46" fmla="*/ 652607 w 528"/>
              <a:gd name="T47" fmla="*/ 559270 h 991"/>
              <a:gd name="T48" fmla="*/ 682914 w 528"/>
              <a:gd name="T49" fmla="*/ 598517 h 991"/>
              <a:gd name="T50" fmla="*/ 705139 w 528"/>
              <a:gd name="T51" fmla="*/ 639726 h 991"/>
              <a:gd name="T52" fmla="*/ 725343 w 528"/>
              <a:gd name="T53" fmla="*/ 680935 h 991"/>
              <a:gd name="T54" fmla="*/ 745548 w 528"/>
              <a:gd name="T55" fmla="*/ 726069 h 991"/>
              <a:gd name="T56" fmla="*/ 757670 w 528"/>
              <a:gd name="T57" fmla="*/ 765316 h 991"/>
              <a:gd name="T58" fmla="*/ 769793 w 528"/>
              <a:gd name="T59" fmla="*/ 808488 h 991"/>
              <a:gd name="T60" fmla="*/ 779895 w 528"/>
              <a:gd name="T61" fmla="*/ 847735 h 991"/>
              <a:gd name="T62" fmla="*/ 783936 w 528"/>
              <a:gd name="T63" fmla="*/ 885019 h 991"/>
              <a:gd name="T64" fmla="*/ 789998 w 528"/>
              <a:gd name="T65" fmla="*/ 922304 h 991"/>
              <a:gd name="T66" fmla="*/ 792018 w 528"/>
              <a:gd name="T67" fmla="*/ 957626 h 991"/>
              <a:gd name="T68" fmla="*/ 794039 w 528"/>
              <a:gd name="T69" fmla="*/ 989024 h 991"/>
              <a:gd name="T70" fmla="*/ 789998 w 528"/>
              <a:gd name="T71" fmla="*/ 1032196 h 991"/>
              <a:gd name="T72" fmla="*/ 783936 w 528"/>
              <a:gd name="T73" fmla="*/ 1063593 h 991"/>
              <a:gd name="T74" fmla="*/ 777875 w 528"/>
              <a:gd name="T75" fmla="*/ 1098916 h 991"/>
              <a:gd name="T76" fmla="*/ 767773 w 528"/>
              <a:gd name="T77" fmla="*/ 1142087 h 991"/>
              <a:gd name="T78" fmla="*/ 755650 w 528"/>
              <a:gd name="T79" fmla="*/ 1183297 h 991"/>
              <a:gd name="T80" fmla="*/ 737466 w 528"/>
              <a:gd name="T81" fmla="*/ 1230393 h 991"/>
              <a:gd name="T82" fmla="*/ 717261 w 528"/>
              <a:gd name="T83" fmla="*/ 1275527 h 991"/>
              <a:gd name="T84" fmla="*/ 695036 w 528"/>
              <a:gd name="T85" fmla="*/ 1324586 h 991"/>
              <a:gd name="T86" fmla="*/ 662709 w 528"/>
              <a:gd name="T87" fmla="*/ 1369720 h 991"/>
              <a:gd name="T88" fmla="*/ 630382 w 528"/>
              <a:gd name="T89" fmla="*/ 1414854 h 991"/>
              <a:gd name="T90" fmla="*/ 587952 w 528"/>
              <a:gd name="T91" fmla="*/ 1456063 h 991"/>
              <a:gd name="T92" fmla="*/ 561686 w 528"/>
              <a:gd name="T93" fmla="*/ 1481574 h 991"/>
              <a:gd name="T94" fmla="*/ 515216 w 528"/>
              <a:gd name="T95" fmla="*/ 1516896 h 991"/>
              <a:gd name="T96" fmla="*/ 478848 w 528"/>
              <a:gd name="T97" fmla="*/ 1546331 h 991"/>
              <a:gd name="T98" fmla="*/ 440459 w 528"/>
              <a:gd name="T99" fmla="*/ 1569879 h 991"/>
              <a:gd name="T100" fmla="*/ 398029 w 528"/>
              <a:gd name="T101" fmla="*/ 1593428 h 991"/>
              <a:gd name="T102" fmla="*/ 345498 w 528"/>
              <a:gd name="T103" fmla="*/ 1615013 h 991"/>
              <a:gd name="T104" fmla="*/ 290945 w 528"/>
              <a:gd name="T105" fmla="*/ 1636599 h 991"/>
              <a:gd name="T106" fmla="*/ 224270 w 528"/>
              <a:gd name="T107" fmla="*/ 1650336 h 991"/>
              <a:gd name="T108" fmla="*/ 155575 w 528"/>
              <a:gd name="T109" fmla="*/ 1666034 h 991"/>
              <a:gd name="T110" fmla="*/ 80818 w 528"/>
              <a:gd name="T111" fmla="*/ 1671922 h 99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8"/>
              <a:gd name="T169" fmla="*/ 0 h 991"/>
              <a:gd name="T170" fmla="*/ 528 w 528"/>
              <a:gd name="T171" fmla="*/ 991 h 99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8" h="991">
                <a:moveTo>
                  <a:pt x="32" y="852"/>
                </a:moveTo>
                <a:lnTo>
                  <a:pt x="35" y="991"/>
                </a:lnTo>
                <a:lnTo>
                  <a:pt x="79" y="990"/>
                </a:lnTo>
                <a:lnTo>
                  <a:pt x="97" y="929"/>
                </a:lnTo>
                <a:lnTo>
                  <a:pt x="189" y="902"/>
                </a:lnTo>
                <a:lnTo>
                  <a:pt x="250" y="944"/>
                </a:lnTo>
                <a:lnTo>
                  <a:pt x="318" y="904"/>
                </a:lnTo>
                <a:lnTo>
                  <a:pt x="315" y="833"/>
                </a:lnTo>
                <a:lnTo>
                  <a:pt x="365" y="780"/>
                </a:lnTo>
                <a:lnTo>
                  <a:pt x="434" y="790"/>
                </a:lnTo>
                <a:lnTo>
                  <a:pt x="482" y="715"/>
                </a:lnTo>
                <a:lnTo>
                  <a:pt x="441" y="656"/>
                </a:lnTo>
                <a:lnTo>
                  <a:pt x="468" y="560"/>
                </a:lnTo>
                <a:lnTo>
                  <a:pt x="528" y="551"/>
                </a:lnTo>
                <a:lnTo>
                  <a:pt x="528" y="547"/>
                </a:lnTo>
                <a:lnTo>
                  <a:pt x="528" y="543"/>
                </a:lnTo>
                <a:lnTo>
                  <a:pt x="528" y="541"/>
                </a:lnTo>
                <a:lnTo>
                  <a:pt x="528" y="537"/>
                </a:lnTo>
                <a:lnTo>
                  <a:pt x="528" y="534"/>
                </a:lnTo>
                <a:lnTo>
                  <a:pt x="528" y="530"/>
                </a:lnTo>
                <a:lnTo>
                  <a:pt x="528" y="528"/>
                </a:lnTo>
                <a:lnTo>
                  <a:pt x="528" y="526"/>
                </a:lnTo>
                <a:lnTo>
                  <a:pt x="528" y="522"/>
                </a:lnTo>
                <a:lnTo>
                  <a:pt x="528" y="518"/>
                </a:lnTo>
                <a:lnTo>
                  <a:pt x="528" y="516"/>
                </a:lnTo>
                <a:lnTo>
                  <a:pt x="528" y="512"/>
                </a:lnTo>
                <a:lnTo>
                  <a:pt x="528" y="506"/>
                </a:lnTo>
                <a:lnTo>
                  <a:pt x="528" y="500"/>
                </a:lnTo>
                <a:lnTo>
                  <a:pt x="528" y="497"/>
                </a:lnTo>
                <a:lnTo>
                  <a:pt x="528" y="493"/>
                </a:lnTo>
                <a:lnTo>
                  <a:pt x="528" y="491"/>
                </a:lnTo>
                <a:lnTo>
                  <a:pt x="528" y="488"/>
                </a:lnTo>
                <a:lnTo>
                  <a:pt x="528" y="485"/>
                </a:lnTo>
                <a:lnTo>
                  <a:pt x="528" y="481"/>
                </a:lnTo>
                <a:lnTo>
                  <a:pt x="528" y="479"/>
                </a:lnTo>
                <a:lnTo>
                  <a:pt x="528" y="475"/>
                </a:lnTo>
                <a:lnTo>
                  <a:pt x="528" y="469"/>
                </a:lnTo>
                <a:lnTo>
                  <a:pt x="528" y="463"/>
                </a:lnTo>
                <a:lnTo>
                  <a:pt x="528" y="457"/>
                </a:lnTo>
                <a:lnTo>
                  <a:pt x="528" y="451"/>
                </a:lnTo>
                <a:lnTo>
                  <a:pt x="467" y="433"/>
                </a:lnTo>
                <a:lnTo>
                  <a:pt x="441" y="341"/>
                </a:lnTo>
                <a:lnTo>
                  <a:pt x="483" y="280"/>
                </a:lnTo>
                <a:lnTo>
                  <a:pt x="443" y="212"/>
                </a:lnTo>
                <a:lnTo>
                  <a:pt x="373" y="216"/>
                </a:lnTo>
                <a:lnTo>
                  <a:pt x="320" y="165"/>
                </a:lnTo>
                <a:lnTo>
                  <a:pt x="328" y="96"/>
                </a:lnTo>
                <a:lnTo>
                  <a:pt x="253" y="48"/>
                </a:lnTo>
                <a:lnTo>
                  <a:pt x="195" y="90"/>
                </a:lnTo>
                <a:lnTo>
                  <a:pt x="98" y="62"/>
                </a:lnTo>
                <a:lnTo>
                  <a:pt x="89" y="3"/>
                </a:lnTo>
                <a:lnTo>
                  <a:pt x="31" y="0"/>
                </a:lnTo>
                <a:lnTo>
                  <a:pt x="0" y="64"/>
                </a:lnTo>
                <a:lnTo>
                  <a:pt x="34" y="138"/>
                </a:lnTo>
                <a:lnTo>
                  <a:pt x="35" y="138"/>
                </a:lnTo>
                <a:lnTo>
                  <a:pt x="37" y="138"/>
                </a:lnTo>
                <a:lnTo>
                  <a:pt x="40" y="138"/>
                </a:lnTo>
                <a:lnTo>
                  <a:pt x="43" y="138"/>
                </a:lnTo>
                <a:lnTo>
                  <a:pt x="48" y="138"/>
                </a:lnTo>
                <a:lnTo>
                  <a:pt x="53" y="138"/>
                </a:lnTo>
                <a:lnTo>
                  <a:pt x="59" y="139"/>
                </a:lnTo>
                <a:lnTo>
                  <a:pt x="62" y="139"/>
                </a:lnTo>
                <a:lnTo>
                  <a:pt x="65" y="139"/>
                </a:lnTo>
                <a:lnTo>
                  <a:pt x="68" y="139"/>
                </a:lnTo>
                <a:lnTo>
                  <a:pt x="72" y="140"/>
                </a:lnTo>
                <a:lnTo>
                  <a:pt x="76" y="140"/>
                </a:lnTo>
                <a:lnTo>
                  <a:pt x="79" y="141"/>
                </a:lnTo>
                <a:lnTo>
                  <a:pt x="84" y="141"/>
                </a:lnTo>
                <a:lnTo>
                  <a:pt x="88" y="143"/>
                </a:lnTo>
                <a:lnTo>
                  <a:pt x="91" y="143"/>
                </a:lnTo>
                <a:lnTo>
                  <a:pt x="96" y="144"/>
                </a:lnTo>
                <a:lnTo>
                  <a:pt x="100" y="145"/>
                </a:lnTo>
                <a:lnTo>
                  <a:pt x="106" y="146"/>
                </a:lnTo>
                <a:lnTo>
                  <a:pt x="109" y="147"/>
                </a:lnTo>
                <a:lnTo>
                  <a:pt x="114" y="149"/>
                </a:lnTo>
                <a:lnTo>
                  <a:pt x="119" y="150"/>
                </a:lnTo>
                <a:lnTo>
                  <a:pt x="123" y="151"/>
                </a:lnTo>
                <a:lnTo>
                  <a:pt x="128" y="151"/>
                </a:lnTo>
                <a:lnTo>
                  <a:pt x="133" y="152"/>
                </a:lnTo>
                <a:lnTo>
                  <a:pt x="138" y="155"/>
                </a:lnTo>
                <a:lnTo>
                  <a:pt x="144" y="156"/>
                </a:lnTo>
                <a:lnTo>
                  <a:pt x="149" y="157"/>
                </a:lnTo>
                <a:lnTo>
                  <a:pt x="153" y="159"/>
                </a:lnTo>
                <a:lnTo>
                  <a:pt x="158" y="161"/>
                </a:lnTo>
                <a:lnTo>
                  <a:pt x="164" y="163"/>
                </a:lnTo>
                <a:lnTo>
                  <a:pt x="169" y="164"/>
                </a:lnTo>
                <a:lnTo>
                  <a:pt x="174" y="167"/>
                </a:lnTo>
                <a:lnTo>
                  <a:pt x="180" y="169"/>
                </a:lnTo>
                <a:lnTo>
                  <a:pt x="185" y="171"/>
                </a:lnTo>
                <a:lnTo>
                  <a:pt x="189" y="174"/>
                </a:lnTo>
                <a:lnTo>
                  <a:pt x="195" y="176"/>
                </a:lnTo>
                <a:lnTo>
                  <a:pt x="200" y="178"/>
                </a:lnTo>
                <a:lnTo>
                  <a:pt x="206" y="182"/>
                </a:lnTo>
                <a:lnTo>
                  <a:pt x="211" y="184"/>
                </a:lnTo>
                <a:lnTo>
                  <a:pt x="217" y="188"/>
                </a:lnTo>
                <a:lnTo>
                  <a:pt x="222" y="190"/>
                </a:lnTo>
                <a:lnTo>
                  <a:pt x="226" y="194"/>
                </a:lnTo>
                <a:lnTo>
                  <a:pt x="231" y="198"/>
                </a:lnTo>
                <a:lnTo>
                  <a:pt x="237" y="200"/>
                </a:lnTo>
                <a:lnTo>
                  <a:pt x="242" y="205"/>
                </a:lnTo>
                <a:lnTo>
                  <a:pt x="247" y="208"/>
                </a:lnTo>
                <a:lnTo>
                  <a:pt x="252" y="212"/>
                </a:lnTo>
                <a:lnTo>
                  <a:pt x="256" y="216"/>
                </a:lnTo>
                <a:lnTo>
                  <a:pt x="261" y="220"/>
                </a:lnTo>
                <a:lnTo>
                  <a:pt x="266" y="225"/>
                </a:lnTo>
                <a:lnTo>
                  <a:pt x="271" y="229"/>
                </a:lnTo>
                <a:lnTo>
                  <a:pt x="276" y="234"/>
                </a:lnTo>
                <a:lnTo>
                  <a:pt x="280" y="238"/>
                </a:lnTo>
                <a:lnTo>
                  <a:pt x="285" y="244"/>
                </a:lnTo>
                <a:lnTo>
                  <a:pt x="289" y="248"/>
                </a:lnTo>
                <a:lnTo>
                  <a:pt x="292" y="250"/>
                </a:lnTo>
                <a:lnTo>
                  <a:pt x="297" y="254"/>
                </a:lnTo>
                <a:lnTo>
                  <a:pt x="301" y="259"/>
                </a:lnTo>
                <a:lnTo>
                  <a:pt x="304" y="261"/>
                </a:lnTo>
                <a:lnTo>
                  <a:pt x="308" y="266"/>
                </a:lnTo>
                <a:lnTo>
                  <a:pt x="312" y="269"/>
                </a:lnTo>
                <a:lnTo>
                  <a:pt x="315" y="273"/>
                </a:lnTo>
                <a:lnTo>
                  <a:pt x="318" y="277"/>
                </a:lnTo>
                <a:lnTo>
                  <a:pt x="320" y="281"/>
                </a:lnTo>
                <a:lnTo>
                  <a:pt x="323" y="285"/>
                </a:lnTo>
                <a:lnTo>
                  <a:pt x="327" y="289"/>
                </a:lnTo>
                <a:lnTo>
                  <a:pt x="329" y="293"/>
                </a:lnTo>
                <a:lnTo>
                  <a:pt x="332" y="297"/>
                </a:lnTo>
                <a:lnTo>
                  <a:pt x="335" y="301"/>
                </a:lnTo>
                <a:lnTo>
                  <a:pt x="338" y="305"/>
                </a:lnTo>
                <a:lnTo>
                  <a:pt x="340" y="309"/>
                </a:lnTo>
                <a:lnTo>
                  <a:pt x="343" y="314"/>
                </a:lnTo>
                <a:lnTo>
                  <a:pt x="345" y="317"/>
                </a:lnTo>
                <a:lnTo>
                  <a:pt x="347" y="322"/>
                </a:lnTo>
                <a:lnTo>
                  <a:pt x="349" y="326"/>
                </a:lnTo>
                <a:lnTo>
                  <a:pt x="351" y="330"/>
                </a:lnTo>
                <a:lnTo>
                  <a:pt x="353" y="334"/>
                </a:lnTo>
                <a:lnTo>
                  <a:pt x="356" y="339"/>
                </a:lnTo>
                <a:lnTo>
                  <a:pt x="358" y="344"/>
                </a:lnTo>
                <a:lnTo>
                  <a:pt x="359" y="347"/>
                </a:lnTo>
                <a:lnTo>
                  <a:pt x="362" y="352"/>
                </a:lnTo>
                <a:lnTo>
                  <a:pt x="363" y="357"/>
                </a:lnTo>
                <a:lnTo>
                  <a:pt x="365" y="360"/>
                </a:lnTo>
                <a:lnTo>
                  <a:pt x="367" y="365"/>
                </a:lnTo>
                <a:lnTo>
                  <a:pt x="369" y="370"/>
                </a:lnTo>
                <a:lnTo>
                  <a:pt x="370" y="374"/>
                </a:lnTo>
                <a:lnTo>
                  <a:pt x="371" y="378"/>
                </a:lnTo>
                <a:lnTo>
                  <a:pt x="373" y="382"/>
                </a:lnTo>
                <a:lnTo>
                  <a:pt x="374" y="386"/>
                </a:lnTo>
                <a:lnTo>
                  <a:pt x="375" y="390"/>
                </a:lnTo>
                <a:lnTo>
                  <a:pt x="376" y="395"/>
                </a:lnTo>
                <a:lnTo>
                  <a:pt x="377" y="399"/>
                </a:lnTo>
                <a:lnTo>
                  <a:pt x="379" y="403"/>
                </a:lnTo>
                <a:lnTo>
                  <a:pt x="380" y="408"/>
                </a:lnTo>
                <a:lnTo>
                  <a:pt x="381" y="412"/>
                </a:lnTo>
                <a:lnTo>
                  <a:pt x="382" y="415"/>
                </a:lnTo>
                <a:lnTo>
                  <a:pt x="382" y="420"/>
                </a:lnTo>
                <a:lnTo>
                  <a:pt x="383" y="424"/>
                </a:lnTo>
                <a:lnTo>
                  <a:pt x="385" y="429"/>
                </a:lnTo>
                <a:lnTo>
                  <a:pt x="386" y="432"/>
                </a:lnTo>
                <a:lnTo>
                  <a:pt x="386" y="436"/>
                </a:lnTo>
                <a:lnTo>
                  <a:pt x="387" y="441"/>
                </a:lnTo>
                <a:lnTo>
                  <a:pt x="387" y="444"/>
                </a:lnTo>
                <a:lnTo>
                  <a:pt x="387" y="448"/>
                </a:lnTo>
                <a:lnTo>
                  <a:pt x="388" y="451"/>
                </a:lnTo>
                <a:lnTo>
                  <a:pt x="388" y="456"/>
                </a:lnTo>
                <a:lnTo>
                  <a:pt x="389" y="459"/>
                </a:lnTo>
                <a:lnTo>
                  <a:pt x="389" y="463"/>
                </a:lnTo>
                <a:lnTo>
                  <a:pt x="391" y="467"/>
                </a:lnTo>
                <a:lnTo>
                  <a:pt x="391" y="470"/>
                </a:lnTo>
                <a:lnTo>
                  <a:pt x="391" y="474"/>
                </a:lnTo>
                <a:lnTo>
                  <a:pt x="392" y="478"/>
                </a:lnTo>
                <a:lnTo>
                  <a:pt x="392" y="481"/>
                </a:lnTo>
                <a:lnTo>
                  <a:pt x="392" y="485"/>
                </a:lnTo>
                <a:lnTo>
                  <a:pt x="392" y="488"/>
                </a:lnTo>
                <a:lnTo>
                  <a:pt x="393" y="492"/>
                </a:lnTo>
                <a:lnTo>
                  <a:pt x="393" y="496"/>
                </a:lnTo>
                <a:lnTo>
                  <a:pt x="394" y="499"/>
                </a:lnTo>
                <a:lnTo>
                  <a:pt x="393" y="500"/>
                </a:lnTo>
                <a:lnTo>
                  <a:pt x="393" y="504"/>
                </a:lnTo>
                <a:lnTo>
                  <a:pt x="393" y="508"/>
                </a:lnTo>
                <a:lnTo>
                  <a:pt x="393" y="512"/>
                </a:lnTo>
                <a:lnTo>
                  <a:pt x="392" y="517"/>
                </a:lnTo>
                <a:lnTo>
                  <a:pt x="391" y="523"/>
                </a:lnTo>
                <a:lnTo>
                  <a:pt x="391" y="526"/>
                </a:lnTo>
                <a:lnTo>
                  <a:pt x="391" y="529"/>
                </a:lnTo>
                <a:lnTo>
                  <a:pt x="389" y="532"/>
                </a:lnTo>
                <a:lnTo>
                  <a:pt x="389" y="535"/>
                </a:lnTo>
                <a:lnTo>
                  <a:pt x="388" y="539"/>
                </a:lnTo>
                <a:lnTo>
                  <a:pt x="388" y="542"/>
                </a:lnTo>
                <a:lnTo>
                  <a:pt x="387" y="545"/>
                </a:lnTo>
                <a:lnTo>
                  <a:pt x="387" y="549"/>
                </a:lnTo>
                <a:lnTo>
                  <a:pt x="386" y="553"/>
                </a:lnTo>
                <a:lnTo>
                  <a:pt x="386" y="557"/>
                </a:lnTo>
                <a:lnTo>
                  <a:pt x="385" y="560"/>
                </a:lnTo>
                <a:lnTo>
                  <a:pt x="385" y="565"/>
                </a:lnTo>
                <a:lnTo>
                  <a:pt x="383" y="569"/>
                </a:lnTo>
                <a:lnTo>
                  <a:pt x="382" y="573"/>
                </a:lnTo>
                <a:lnTo>
                  <a:pt x="381" y="577"/>
                </a:lnTo>
                <a:lnTo>
                  <a:pt x="380" y="582"/>
                </a:lnTo>
                <a:lnTo>
                  <a:pt x="379" y="585"/>
                </a:lnTo>
                <a:lnTo>
                  <a:pt x="377" y="590"/>
                </a:lnTo>
                <a:lnTo>
                  <a:pt x="376" y="595"/>
                </a:lnTo>
                <a:lnTo>
                  <a:pt x="375" y="600"/>
                </a:lnTo>
                <a:lnTo>
                  <a:pt x="374" y="603"/>
                </a:lnTo>
                <a:lnTo>
                  <a:pt x="373" y="608"/>
                </a:lnTo>
                <a:lnTo>
                  <a:pt x="370" y="613"/>
                </a:lnTo>
                <a:lnTo>
                  <a:pt x="369" y="618"/>
                </a:lnTo>
                <a:lnTo>
                  <a:pt x="367" y="622"/>
                </a:lnTo>
                <a:lnTo>
                  <a:pt x="365" y="627"/>
                </a:lnTo>
                <a:lnTo>
                  <a:pt x="363" y="631"/>
                </a:lnTo>
                <a:lnTo>
                  <a:pt x="362" y="637"/>
                </a:lnTo>
                <a:lnTo>
                  <a:pt x="359" y="642"/>
                </a:lnTo>
                <a:lnTo>
                  <a:pt x="357" y="645"/>
                </a:lnTo>
                <a:lnTo>
                  <a:pt x="355" y="650"/>
                </a:lnTo>
                <a:lnTo>
                  <a:pt x="353" y="655"/>
                </a:lnTo>
                <a:lnTo>
                  <a:pt x="351" y="660"/>
                </a:lnTo>
                <a:lnTo>
                  <a:pt x="349" y="664"/>
                </a:lnTo>
                <a:lnTo>
                  <a:pt x="346" y="669"/>
                </a:lnTo>
                <a:lnTo>
                  <a:pt x="344" y="675"/>
                </a:lnTo>
                <a:lnTo>
                  <a:pt x="340" y="679"/>
                </a:lnTo>
                <a:lnTo>
                  <a:pt x="338" y="683"/>
                </a:lnTo>
                <a:lnTo>
                  <a:pt x="334" y="688"/>
                </a:lnTo>
                <a:lnTo>
                  <a:pt x="332" y="693"/>
                </a:lnTo>
                <a:lnTo>
                  <a:pt x="328" y="698"/>
                </a:lnTo>
                <a:lnTo>
                  <a:pt x="325" y="703"/>
                </a:lnTo>
                <a:lnTo>
                  <a:pt x="321" y="706"/>
                </a:lnTo>
                <a:lnTo>
                  <a:pt x="319" y="712"/>
                </a:lnTo>
                <a:lnTo>
                  <a:pt x="315" y="716"/>
                </a:lnTo>
                <a:lnTo>
                  <a:pt x="312" y="721"/>
                </a:lnTo>
                <a:lnTo>
                  <a:pt x="307" y="725"/>
                </a:lnTo>
                <a:lnTo>
                  <a:pt x="303" y="729"/>
                </a:lnTo>
                <a:lnTo>
                  <a:pt x="300" y="734"/>
                </a:lnTo>
                <a:lnTo>
                  <a:pt x="295" y="739"/>
                </a:lnTo>
                <a:lnTo>
                  <a:pt x="291" y="742"/>
                </a:lnTo>
                <a:lnTo>
                  <a:pt x="288" y="747"/>
                </a:lnTo>
                <a:lnTo>
                  <a:pt x="285" y="747"/>
                </a:lnTo>
                <a:lnTo>
                  <a:pt x="283" y="751"/>
                </a:lnTo>
                <a:lnTo>
                  <a:pt x="280" y="752"/>
                </a:lnTo>
                <a:lnTo>
                  <a:pt x="278" y="755"/>
                </a:lnTo>
                <a:lnTo>
                  <a:pt x="274" y="759"/>
                </a:lnTo>
                <a:lnTo>
                  <a:pt x="271" y="762"/>
                </a:lnTo>
                <a:lnTo>
                  <a:pt x="266" y="765"/>
                </a:lnTo>
                <a:lnTo>
                  <a:pt x="261" y="770"/>
                </a:lnTo>
                <a:lnTo>
                  <a:pt x="255" y="773"/>
                </a:lnTo>
                <a:lnTo>
                  <a:pt x="250" y="778"/>
                </a:lnTo>
                <a:lnTo>
                  <a:pt x="247" y="780"/>
                </a:lnTo>
                <a:lnTo>
                  <a:pt x="243" y="783"/>
                </a:lnTo>
                <a:lnTo>
                  <a:pt x="241" y="785"/>
                </a:lnTo>
                <a:lnTo>
                  <a:pt x="237" y="788"/>
                </a:lnTo>
                <a:lnTo>
                  <a:pt x="234" y="790"/>
                </a:lnTo>
                <a:lnTo>
                  <a:pt x="230" y="792"/>
                </a:lnTo>
                <a:lnTo>
                  <a:pt x="226" y="795"/>
                </a:lnTo>
                <a:lnTo>
                  <a:pt x="223" y="798"/>
                </a:lnTo>
                <a:lnTo>
                  <a:pt x="218" y="800"/>
                </a:lnTo>
                <a:lnTo>
                  <a:pt x="214" y="802"/>
                </a:lnTo>
                <a:lnTo>
                  <a:pt x="210" y="804"/>
                </a:lnTo>
                <a:lnTo>
                  <a:pt x="206" y="807"/>
                </a:lnTo>
                <a:lnTo>
                  <a:pt x="201" y="809"/>
                </a:lnTo>
                <a:lnTo>
                  <a:pt x="197" y="812"/>
                </a:lnTo>
                <a:lnTo>
                  <a:pt x="192" y="814"/>
                </a:lnTo>
                <a:lnTo>
                  <a:pt x="187" y="816"/>
                </a:lnTo>
                <a:lnTo>
                  <a:pt x="182" y="819"/>
                </a:lnTo>
                <a:lnTo>
                  <a:pt x="176" y="821"/>
                </a:lnTo>
                <a:lnTo>
                  <a:pt x="171" y="823"/>
                </a:lnTo>
                <a:lnTo>
                  <a:pt x="167" y="825"/>
                </a:lnTo>
                <a:lnTo>
                  <a:pt x="161" y="827"/>
                </a:lnTo>
                <a:lnTo>
                  <a:pt x="155" y="829"/>
                </a:lnTo>
                <a:lnTo>
                  <a:pt x="149" y="832"/>
                </a:lnTo>
                <a:lnTo>
                  <a:pt x="144" y="834"/>
                </a:lnTo>
                <a:lnTo>
                  <a:pt x="137" y="835"/>
                </a:lnTo>
                <a:lnTo>
                  <a:pt x="131" y="838"/>
                </a:lnTo>
                <a:lnTo>
                  <a:pt x="125" y="839"/>
                </a:lnTo>
                <a:lnTo>
                  <a:pt x="119" y="840"/>
                </a:lnTo>
                <a:lnTo>
                  <a:pt x="111" y="841"/>
                </a:lnTo>
                <a:lnTo>
                  <a:pt x="104" y="844"/>
                </a:lnTo>
                <a:lnTo>
                  <a:pt x="98" y="845"/>
                </a:lnTo>
                <a:lnTo>
                  <a:pt x="91" y="846"/>
                </a:lnTo>
                <a:lnTo>
                  <a:pt x="84" y="847"/>
                </a:lnTo>
                <a:lnTo>
                  <a:pt x="77" y="849"/>
                </a:lnTo>
                <a:lnTo>
                  <a:pt x="70" y="850"/>
                </a:lnTo>
                <a:lnTo>
                  <a:pt x="62" y="850"/>
                </a:lnTo>
                <a:lnTo>
                  <a:pt x="54" y="851"/>
                </a:lnTo>
                <a:lnTo>
                  <a:pt x="47" y="851"/>
                </a:lnTo>
                <a:lnTo>
                  <a:pt x="40" y="852"/>
                </a:lnTo>
                <a:lnTo>
                  <a:pt x="32" y="852"/>
                </a:lnTo>
                <a:close/>
              </a:path>
            </a:pathLst>
          </a:custGeom>
          <a:solidFill>
            <a:srgbClr val="EAEAEA"/>
          </a:solidFill>
          <a:ln w="9525">
            <a:noFill/>
            <a:round/>
            <a:headEnd/>
            <a:tailEnd/>
          </a:ln>
        </p:spPr>
        <p:txBody>
          <a:bodyPr/>
          <a:lstStyle/>
          <a:p>
            <a:endParaRPr lang="en-US"/>
          </a:p>
        </p:txBody>
      </p:sp>
      <p:sp>
        <p:nvSpPr>
          <p:cNvPr id="39946" name="Freeform 19"/>
          <p:cNvSpPr>
            <a:spLocks noChangeAspect="1"/>
          </p:cNvSpPr>
          <p:nvPr/>
        </p:nvSpPr>
        <p:spPr bwMode="gray">
          <a:xfrm>
            <a:off x="3357563" y="1143000"/>
            <a:ext cx="1052512" cy="1949450"/>
          </a:xfrm>
          <a:custGeom>
            <a:avLst/>
            <a:gdLst>
              <a:gd name="T0" fmla="*/ 686246 w 523"/>
              <a:gd name="T1" fmla="*/ 174900 h 992"/>
              <a:gd name="T2" fmla="*/ 193195 w 523"/>
              <a:gd name="T3" fmla="*/ 394999 h 992"/>
              <a:gd name="T4" fmla="*/ 2012 w 523"/>
              <a:gd name="T5" fmla="*/ 874501 h 992"/>
              <a:gd name="T6" fmla="*/ 0 w 523"/>
              <a:gd name="T7" fmla="*/ 931491 h 992"/>
              <a:gd name="T8" fmla="*/ 0 w 523"/>
              <a:gd name="T9" fmla="*/ 964899 h 992"/>
              <a:gd name="T10" fmla="*/ 0 w 523"/>
              <a:gd name="T11" fmla="*/ 996342 h 992"/>
              <a:gd name="T12" fmla="*/ 0 w 523"/>
              <a:gd name="T13" fmla="*/ 1029750 h 992"/>
              <a:gd name="T14" fmla="*/ 4025 w 523"/>
              <a:gd name="T15" fmla="*/ 1065123 h 992"/>
              <a:gd name="T16" fmla="*/ 317967 w 523"/>
              <a:gd name="T17" fmla="*/ 1526938 h 992"/>
              <a:gd name="T18" fmla="*/ 867366 w 523"/>
              <a:gd name="T19" fmla="*/ 1829575 h 992"/>
              <a:gd name="T20" fmla="*/ 994151 w 523"/>
              <a:gd name="T21" fmla="*/ 1676291 h 992"/>
              <a:gd name="T22" fmla="*/ 963964 w 523"/>
              <a:gd name="T23" fmla="*/ 1674326 h 992"/>
              <a:gd name="T24" fmla="*/ 923715 w 523"/>
              <a:gd name="T25" fmla="*/ 1672361 h 992"/>
              <a:gd name="T26" fmla="*/ 887491 w 523"/>
              <a:gd name="T27" fmla="*/ 1666465 h 992"/>
              <a:gd name="T28" fmla="*/ 843217 w 523"/>
              <a:gd name="T29" fmla="*/ 1654674 h 992"/>
              <a:gd name="T30" fmla="*/ 794918 w 523"/>
              <a:gd name="T31" fmla="*/ 1646814 h 992"/>
              <a:gd name="T32" fmla="*/ 742594 w 523"/>
              <a:gd name="T33" fmla="*/ 1629127 h 992"/>
              <a:gd name="T34" fmla="*/ 692283 w 523"/>
              <a:gd name="T35" fmla="*/ 1611441 h 992"/>
              <a:gd name="T36" fmla="*/ 637947 w 523"/>
              <a:gd name="T37" fmla="*/ 1585893 h 992"/>
              <a:gd name="T38" fmla="*/ 587636 w 523"/>
              <a:gd name="T39" fmla="*/ 1552485 h 992"/>
              <a:gd name="T40" fmla="*/ 537324 w 523"/>
              <a:gd name="T41" fmla="*/ 1517112 h 992"/>
              <a:gd name="T42" fmla="*/ 493050 w 523"/>
              <a:gd name="T43" fmla="*/ 1471913 h 992"/>
              <a:gd name="T44" fmla="*/ 464876 w 523"/>
              <a:gd name="T45" fmla="*/ 1446366 h 992"/>
              <a:gd name="T46" fmla="*/ 426640 w 523"/>
              <a:gd name="T47" fmla="*/ 1401167 h 992"/>
              <a:gd name="T48" fmla="*/ 402490 w 523"/>
              <a:gd name="T49" fmla="*/ 1367759 h 992"/>
              <a:gd name="T50" fmla="*/ 378341 w 523"/>
              <a:gd name="T51" fmla="*/ 1330421 h 992"/>
              <a:gd name="T52" fmla="*/ 354191 w 523"/>
              <a:gd name="T53" fmla="*/ 1283257 h 992"/>
              <a:gd name="T54" fmla="*/ 332054 w 523"/>
              <a:gd name="T55" fmla="*/ 1234128 h 992"/>
              <a:gd name="T56" fmla="*/ 309917 w 523"/>
              <a:gd name="T57" fmla="*/ 1179103 h 992"/>
              <a:gd name="T58" fmla="*/ 293818 w 523"/>
              <a:gd name="T59" fmla="*/ 1114252 h 992"/>
              <a:gd name="T60" fmla="*/ 281743 w 523"/>
              <a:gd name="T61" fmla="*/ 1043506 h 992"/>
              <a:gd name="T62" fmla="*/ 277718 w 523"/>
              <a:gd name="T63" fmla="*/ 970795 h 992"/>
              <a:gd name="T64" fmla="*/ 277718 w 523"/>
              <a:gd name="T65" fmla="*/ 935422 h 992"/>
              <a:gd name="T66" fmla="*/ 283756 w 523"/>
              <a:gd name="T67" fmla="*/ 888257 h 992"/>
              <a:gd name="T68" fmla="*/ 289793 w 523"/>
              <a:gd name="T69" fmla="*/ 850919 h 992"/>
              <a:gd name="T70" fmla="*/ 297843 w 523"/>
              <a:gd name="T71" fmla="*/ 811616 h 992"/>
              <a:gd name="T72" fmla="*/ 309917 w 523"/>
              <a:gd name="T73" fmla="*/ 766417 h 992"/>
              <a:gd name="T74" fmla="*/ 324005 w 523"/>
              <a:gd name="T75" fmla="*/ 719253 h 992"/>
              <a:gd name="T76" fmla="*/ 346142 w 523"/>
              <a:gd name="T77" fmla="*/ 670124 h 992"/>
              <a:gd name="T78" fmla="*/ 372303 w 523"/>
              <a:gd name="T79" fmla="*/ 622959 h 992"/>
              <a:gd name="T80" fmla="*/ 402490 w 523"/>
              <a:gd name="T81" fmla="*/ 573830 h 992"/>
              <a:gd name="T82" fmla="*/ 436702 w 523"/>
              <a:gd name="T83" fmla="*/ 528631 h 992"/>
              <a:gd name="T84" fmla="*/ 478963 w 523"/>
              <a:gd name="T85" fmla="*/ 487363 h 992"/>
              <a:gd name="T86" fmla="*/ 507138 w 523"/>
              <a:gd name="T87" fmla="*/ 461815 h 992"/>
              <a:gd name="T88" fmla="*/ 549399 w 523"/>
              <a:gd name="T89" fmla="*/ 422512 h 992"/>
              <a:gd name="T90" fmla="*/ 587636 w 523"/>
              <a:gd name="T91" fmla="*/ 394999 h 992"/>
              <a:gd name="T92" fmla="*/ 623860 w 523"/>
              <a:gd name="T93" fmla="*/ 371417 h 992"/>
              <a:gd name="T94" fmla="*/ 670146 w 523"/>
              <a:gd name="T95" fmla="*/ 347835 h 992"/>
              <a:gd name="T96" fmla="*/ 720457 w 523"/>
              <a:gd name="T97" fmla="*/ 324253 h 992"/>
              <a:gd name="T98" fmla="*/ 778819 w 523"/>
              <a:gd name="T99" fmla="*/ 308532 h 992"/>
              <a:gd name="T100" fmla="*/ 841204 w 523"/>
              <a:gd name="T101" fmla="*/ 288880 h 992"/>
              <a:gd name="T102" fmla="*/ 911640 w 523"/>
              <a:gd name="T103" fmla="*/ 277089 h 992"/>
              <a:gd name="T104" fmla="*/ 988113 w 523"/>
              <a:gd name="T105" fmla="*/ 273159 h 99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23"/>
              <a:gd name="T160" fmla="*/ 0 h 992"/>
              <a:gd name="T161" fmla="*/ 523 w 523"/>
              <a:gd name="T162" fmla="*/ 992 h 99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23" h="992">
                <a:moveTo>
                  <a:pt x="500" y="139"/>
                </a:moveTo>
                <a:lnTo>
                  <a:pt x="497" y="0"/>
                </a:lnTo>
                <a:lnTo>
                  <a:pt x="453" y="1"/>
                </a:lnTo>
                <a:lnTo>
                  <a:pt x="435" y="63"/>
                </a:lnTo>
                <a:lnTo>
                  <a:pt x="341" y="89"/>
                </a:lnTo>
                <a:lnTo>
                  <a:pt x="281" y="48"/>
                </a:lnTo>
                <a:lnTo>
                  <a:pt x="213" y="86"/>
                </a:lnTo>
                <a:lnTo>
                  <a:pt x="217" y="158"/>
                </a:lnTo>
                <a:lnTo>
                  <a:pt x="166" y="212"/>
                </a:lnTo>
                <a:lnTo>
                  <a:pt x="96" y="201"/>
                </a:lnTo>
                <a:lnTo>
                  <a:pt x="49" y="276"/>
                </a:lnTo>
                <a:lnTo>
                  <a:pt x="91" y="335"/>
                </a:lnTo>
                <a:lnTo>
                  <a:pt x="63" y="424"/>
                </a:lnTo>
                <a:lnTo>
                  <a:pt x="2" y="440"/>
                </a:lnTo>
                <a:lnTo>
                  <a:pt x="1" y="445"/>
                </a:lnTo>
                <a:lnTo>
                  <a:pt x="1" y="450"/>
                </a:lnTo>
                <a:lnTo>
                  <a:pt x="0" y="456"/>
                </a:lnTo>
                <a:lnTo>
                  <a:pt x="0" y="462"/>
                </a:lnTo>
                <a:lnTo>
                  <a:pt x="0" y="468"/>
                </a:lnTo>
                <a:lnTo>
                  <a:pt x="0" y="474"/>
                </a:lnTo>
                <a:lnTo>
                  <a:pt x="0" y="477"/>
                </a:lnTo>
                <a:lnTo>
                  <a:pt x="0" y="481"/>
                </a:lnTo>
                <a:lnTo>
                  <a:pt x="0" y="483"/>
                </a:lnTo>
                <a:lnTo>
                  <a:pt x="0" y="487"/>
                </a:lnTo>
                <a:lnTo>
                  <a:pt x="0" y="491"/>
                </a:lnTo>
                <a:lnTo>
                  <a:pt x="0" y="494"/>
                </a:lnTo>
                <a:lnTo>
                  <a:pt x="0" y="497"/>
                </a:lnTo>
                <a:lnTo>
                  <a:pt x="0" y="500"/>
                </a:lnTo>
                <a:lnTo>
                  <a:pt x="0" y="504"/>
                </a:lnTo>
                <a:lnTo>
                  <a:pt x="0" y="507"/>
                </a:lnTo>
                <a:lnTo>
                  <a:pt x="0" y="511"/>
                </a:lnTo>
                <a:lnTo>
                  <a:pt x="0" y="515"/>
                </a:lnTo>
                <a:lnTo>
                  <a:pt x="0" y="518"/>
                </a:lnTo>
                <a:lnTo>
                  <a:pt x="0" y="521"/>
                </a:lnTo>
                <a:lnTo>
                  <a:pt x="0" y="524"/>
                </a:lnTo>
                <a:lnTo>
                  <a:pt x="1" y="528"/>
                </a:lnTo>
                <a:lnTo>
                  <a:pt x="1" y="531"/>
                </a:lnTo>
                <a:lnTo>
                  <a:pt x="1" y="535"/>
                </a:lnTo>
                <a:lnTo>
                  <a:pt x="2" y="538"/>
                </a:lnTo>
                <a:lnTo>
                  <a:pt x="2" y="542"/>
                </a:lnTo>
                <a:lnTo>
                  <a:pt x="63" y="559"/>
                </a:lnTo>
                <a:lnTo>
                  <a:pt x="88" y="652"/>
                </a:lnTo>
                <a:lnTo>
                  <a:pt x="48" y="711"/>
                </a:lnTo>
                <a:lnTo>
                  <a:pt x="86" y="780"/>
                </a:lnTo>
                <a:lnTo>
                  <a:pt x="158" y="777"/>
                </a:lnTo>
                <a:lnTo>
                  <a:pt x="212" y="826"/>
                </a:lnTo>
                <a:lnTo>
                  <a:pt x="201" y="897"/>
                </a:lnTo>
                <a:lnTo>
                  <a:pt x="278" y="944"/>
                </a:lnTo>
                <a:lnTo>
                  <a:pt x="334" y="903"/>
                </a:lnTo>
                <a:lnTo>
                  <a:pt x="431" y="931"/>
                </a:lnTo>
                <a:lnTo>
                  <a:pt x="442" y="988"/>
                </a:lnTo>
                <a:lnTo>
                  <a:pt x="497" y="992"/>
                </a:lnTo>
                <a:lnTo>
                  <a:pt x="523" y="935"/>
                </a:lnTo>
                <a:lnTo>
                  <a:pt x="496" y="853"/>
                </a:lnTo>
                <a:lnTo>
                  <a:pt x="494" y="853"/>
                </a:lnTo>
                <a:lnTo>
                  <a:pt x="493" y="853"/>
                </a:lnTo>
                <a:lnTo>
                  <a:pt x="491" y="853"/>
                </a:lnTo>
                <a:lnTo>
                  <a:pt x="488" y="853"/>
                </a:lnTo>
                <a:lnTo>
                  <a:pt x="484" y="852"/>
                </a:lnTo>
                <a:lnTo>
                  <a:pt x="479" y="852"/>
                </a:lnTo>
                <a:lnTo>
                  <a:pt x="474" y="852"/>
                </a:lnTo>
                <a:lnTo>
                  <a:pt x="469" y="852"/>
                </a:lnTo>
                <a:lnTo>
                  <a:pt x="466" y="851"/>
                </a:lnTo>
                <a:lnTo>
                  <a:pt x="462" y="851"/>
                </a:lnTo>
                <a:lnTo>
                  <a:pt x="459" y="851"/>
                </a:lnTo>
                <a:lnTo>
                  <a:pt x="455" y="850"/>
                </a:lnTo>
                <a:lnTo>
                  <a:pt x="451" y="850"/>
                </a:lnTo>
                <a:lnTo>
                  <a:pt x="448" y="848"/>
                </a:lnTo>
                <a:lnTo>
                  <a:pt x="444" y="848"/>
                </a:lnTo>
                <a:lnTo>
                  <a:pt x="441" y="848"/>
                </a:lnTo>
                <a:lnTo>
                  <a:pt x="436" y="847"/>
                </a:lnTo>
                <a:lnTo>
                  <a:pt x="432" y="846"/>
                </a:lnTo>
                <a:lnTo>
                  <a:pt x="427" y="845"/>
                </a:lnTo>
                <a:lnTo>
                  <a:pt x="424" y="844"/>
                </a:lnTo>
                <a:lnTo>
                  <a:pt x="419" y="842"/>
                </a:lnTo>
                <a:lnTo>
                  <a:pt x="414" y="842"/>
                </a:lnTo>
                <a:lnTo>
                  <a:pt x="409" y="841"/>
                </a:lnTo>
                <a:lnTo>
                  <a:pt x="405" y="840"/>
                </a:lnTo>
                <a:lnTo>
                  <a:pt x="400" y="839"/>
                </a:lnTo>
                <a:lnTo>
                  <a:pt x="395" y="838"/>
                </a:lnTo>
                <a:lnTo>
                  <a:pt x="390" y="836"/>
                </a:lnTo>
                <a:lnTo>
                  <a:pt x="384" y="835"/>
                </a:lnTo>
                <a:lnTo>
                  <a:pt x="379" y="833"/>
                </a:lnTo>
                <a:lnTo>
                  <a:pt x="375" y="832"/>
                </a:lnTo>
                <a:lnTo>
                  <a:pt x="369" y="829"/>
                </a:lnTo>
                <a:lnTo>
                  <a:pt x="365" y="828"/>
                </a:lnTo>
                <a:lnTo>
                  <a:pt x="359" y="826"/>
                </a:lnTo>
                <a:lnTo>
                  <a:pt x="354" y="823"/>
                </a:lnTo>
                <a:lnTo>
                  <a:pt x="348" y="821"/>
                </a:lnTo>
                <a:lnTo>
                  <a:pt x="344" y="820"/>
                </a:lnTo>
                <a:lnTo>
                  <a:pt x="339" y="816"/>
                </a:lnTo>
                <a:lnTo>
                  <a:pt x="334" y="814"/>
                </a:lnTo>
                <a:lnTo>
                  <a:pt x="328" y="813"/>
                </a:lnTo>
                <a:lnTo>
                  <a:pt x="323" y="810"/>
                </a:lnTo>
                <a:lnTo>
                  <a:pt x="317" y="807"/>
                </a:lnTo>
                <a:lnTo>
                  <a:pt x="312" y="803"/>
                </a:lnTo>
                <a:lnTo>
                  <a:pt x="308" y="801"/>
                </a:lnTo>
                <a:lnTo>
                  <a:pt x="302" y="797"/>
                </a:lnTo>
                <a:lnTo>
                  <a:pt x="297" y="793"/>
                </a:lnTo>
                <a:lnTo>
                  <a:pt x="292" y="790"/>
                </a:lnTo>
                <a:lnTo>
                  <a:pt x="286" y="787"/>
                </a:lnTo>
                <a:lnTo>
                  <a:pt x="282" y="784"/>
                </a:lnTo>
                <a:lnTo>
                  <a:pt x="276" y="779"/>
                </a:lnTo>
                <a:lnTo>
                  <a:pt x="272" y="775"/>
                </a:lnTo>
                <a:lnTo>
                  <a:pt x="267" y="772"/>
                </a:lnTo>
                <a:lnTo>
                  <a:pt x="262" y="767"/>
                </a:lnTo>
                <a:lnTo>
                  <a:pt x="257" y="763"/>
                </a:lnTo>
                <a:lnTo>
                  <a:pt x="254" y="759"/>
                </a:lnTo>
                <a:lnTo>
                  <a:pt x="249" y="754"/>
                </a:lnTo>
                <a:lnTo>
                  <a:pt x="245" y="749"/>
                </a:lnTo>
                <a:lnTo>
                  <a:pt x="243" y="748"/>
                </a:lnTo>
                <a:lnTo>
                  <a:pt x="239" y="744"/>
                </a:lnTo>
                <a:lnTo>
                  <a:pt x="237" y="742"/>
                </a:lnTo>
                <a:lnTo>
                  <a:pt x="235" y="740"/>
                </a:lnTo>
                <a:lnTo>
                  <a:pt x="231" y="736"/>
                </a:lnTo>
                <a:lnTo>
                  <a:pt x="229" y="734"/>
                </a:lnTo>
                <a:lnTo>
                  <a:pt x="224" y="729"/>
                </a:lnTo>
                <a:lnTo>
                  <a:pt x="220" y="724"/>
                </a:lnTo>
                <a:lnTo>
                  <a:pt x="215" y="718"/>
                </a:lnTo>
                <a:lnTo>
                  <a:pt x="212" y="713"/>
                </a:lnTo>
                <a:lnTo>
                  <a:pt x="209" y="710"/>
                </a:lnTo>
                <a:lnTo>
                  <a:pt x="207" y="706"/>
                </a:lnTo>
                <a:lnTo>
                  <a:pt x="205" y="704"/>
                </a:lnTo>
                <a:lnTo>
                  <a:pt x="202" y="700"/>
                </a:lnTo>
                <a:lnTo>
                  <a:pt x="200" y="696"/>
                </a:lnTo>
                <a:lnTo>
                  <a:pt x="197" y="693"/>
                </a:lnTo>
                <a:lnTo>
                  <a:pt x="195" y="689"/>
                </a:lnTo>
                <a:lnTo>
                  <a:pt x="193" y="686"/>
                </a:lnTo>
                <a:lnTo>
                  <a:pt x="190" y="681"/>
                </a:lnTo>
                <a:lnTo>
                  <a:pt x="188" y="677"/>
                </a:lnTo>
                <a:lnTo>
                  <a:pt x="185" y="673"/>
                </a:lnTo>
                <a:lnTo>
                  <a:pt x="183" y="668"/>
                </a:lnTo>
                <a:lnTo>
                  <a:pt x="179" y="664"/>
                </a:lnTo>
                <a:lnTo>
                  <a:pt x="178" y="659"/>
                </a:lnTo>
                <a:lnTo>
                  <a:pt x="176" y="653"/>
                </a:lnTo>
                <a:lnTo>
                  <a:pt x="173" y="650"/>
                </a:lnTo>
                <a:lnTo>
                  <a:pt x="171" y="644"/>
                </a:lnTo>
                <a:lnTo>
                  <a:pt x="169" y="639"/>
                </a:lnTo>
                <a:lnTo>
                  <a:pt x="166" y="633"/>
                </a:lnTo>
                <a:lnTo>
                  <a:pt x="165" y="628"/>
                </a:lnTo>
                <a:lnTo>
                  <a:pt x="163" y="622"/>
                </a:lnTo>
                <a:lnTo>
                  <a:pt x="160" y="617"/>
                </a:lnTo>
                <a:lnTo>
                  <a:pt x="158" y="611"/>
                </a:lnTo>
                <a:lnTo>
                  <a:pt x="157" y="606"/>
                </a:lnTo>
                <a:lnTo>
                  <a:pt x="154" y="600"/>
                </a:lnTo>
                <a:lnTo>
                  <a:pt x="153" y="594"/>
                </a:lnTo>
                <a:lnTo>
                  <a:pt x="151" y="588"/>
                </a:lnTo>
                <a:lnTo>
                  <a:pt x="149" y="580"/>
                </a:lnTo>
                <a:lnTo>
                  <a:pt x="147" y="574"/>
                </a:lnTo>
                <a:lnTo>
                  <a:pt x="146" y="567"/>
                </a:lnTo>
                <a:lnTo>
                  <a:pt x="145" y="560"/>
                </a:lnTo>
                <a:lnTo>
                  <a:pt x="144" y="554"/>
                </a:lnTo>
                <a:lnTo>
                  <a:pt x="142" y="547"/>
                </a:lnTo>
                <a:lnTo>
                  <a:pt x="141" y="540"/>
                </a:lnTo>
                <a:lnTo>
                  <a:pt x="140" y="531"/>
                </a:lnTo>
                <a:lnTo>
                  <a:pt x="140" y="525"/>
                </a:lnTo>
                <a:lnTo>
                  <a:pt x="139" y="517"/>
                </a:lnTo>
                <a:lnTo>
                  <a:pt x="138" y="510"/>
                </a:lnTo>
                <a:lnTo>
                  <a:pt x="138" y="501"/>
                </a:lnTo>
                <a:lnTo>
                  <a:pt x="138" y="494"/>
                </a:lnTo>
                <a:lnTo>
                  <a:pt x="138" y="492"/>
                </a:lnTo>
                <a:lnTo>
                  <a:pt x="138" y="489"/>
                </a:lnTo>
                <a:lnTo>
                  <a:pt x="138" y="485"/>
                </a:lnTo>
                <a:lnTo>
                  <a:pt x="138" y="482"/>
                </a:lnTo>
                <a:lnTo>
                  <a:pt x="138" y="476"/>
                </a:lnTo>
                <a:lnTo>
                  <a:pt x="139" y="471"/>
                </a:lnTo>
                <a:lnTo>
                  <a:pt x="139" y="465"/>
                </a:lnTo>
                <a:lnTo>
                  <a:pt x="140" y="460"/>
                </a:lnTo>
                <a:lnTo>
                  <a:pt x="140" y="456"/>
                </a:lnTo>
                <a:lnTo>
                  <a:pt x="141" y="452"/>
                </a:lnTo>
                <a:lnTo>
                  <a:pt x="141" y="449"/>
                </a:lnTo>
                <a:lnTo>
                  <a:pt x="142" y="445"/>
                </a:lnTo>
                <a:lnTo>
                  <a:pt x="142" y="442"/>
                </a:lnTo>
                <a:lnTo>
                  <a:pt x="144" y="437"/>
                </a:lnTo>
                <a:lnTo>
                  <a:pt x="144" y="433"/>
                </a:lnTo>
                <a:lnTo>
                  <a:pt x="145" y="430"/>
                </a:lnTo>
                <a:lnTo>
                  <a:pt x="145" y="425"/>
                </a:lnTo>
                <a:lnTo>
                  <a:pt x="146" y="421"/>
                </a:lnTo>
                <a:lnTo>
                  <a:pt x="147" y="416"/>
                </a:lnTo>
                <a:lnTo>
                  <a:pt x="148" y="413"/>
                </a:lnTo>
                <a:lnTo>
                  <a:pt x="149" y="408"/>
                </a:lnTo>
                <a:lnTo>
                  <a:pt x="151" y="403"/>
                </a:lnTo>
                <a:lnTo>
                  <a:pt x="152" y="398"/>
                </a:lnTo>
                <a:lnTo>
                  <a:pt x="153" y="395"/>
                </a:lnTo>
                <a:lnTo>
                  <a:pt x="154" y="390"/>
                </a:lnTo>
                <a:lnTo>
                  <a:pt x="155" y="385"/>
                </a:lnTo>
                <a:lnTo>
                  <a:pt x="157" y="381"/>
                </a:lnTo>
                <a:lnTo>
                  <a:pt x="158" y="376"/>
                </a:lnTo>
                <a:lnTo>
                  <a:pt x="160" y="371"/>
                </a:lnTo>
                <a:lnTo>
                  <a:pt x="161" y="366"/>
                </a:lnTo>
                <a:lnTo>
                  <a:pt x="164" y="361"/>
                </a:lnTo>
                <a:lnTo>
                  <a:pt x="166" y="357"/>
                </a:lnTo>
                <a:lnTo>
                  <a:pt x="167" y="352"/>
                </a:lnTo>
                <a:lnTo>
                  <a:pt x="170" y="347"/>
                </a:lnTo>
                <a:lnTo>
                  <a:pt x="172" y="341"/>
                </a:lnTo>
                <a:lnTo>
                  <a:pt x="175" y="336"/>
                </a:lnTo>
                <a:lnTo>
                  <a:pt x="177" y="331"/>
                </a:lnTo>
                <a:lnTo>
                  <a:pt x="179" y="327"/>
                </a:lnTo>
                <a:lnTo>
                  <a:pt x="182" y="322"/>
                </a:lnTo>
                <a:lnTo>
                  <a:pt x="185" y="317"/>
                </a:lnTo>
                <a:lnTo>
                  <a:pt x="188" y="312"/>
                </a:lnTo>
                <a:lnTo>
                  <a:pt x="190" y="308"/>
                </a:lnTo>
                <a:lnTo>
                  <a:pt x="193" y="302"/>
                </a:lnTo>
                <a:lnTo>
                  <a:pt x="196" y="298"/>
                </a:lnTo>
                <a:lnTo>
                  <a:pt x="200" y="292"/>
                </a:lnTo>
                <a:lnTo>
                  <a:pt x="202" y="287"/>
                </a:lnTo>
                <a:lnTo>
                  <a:pt x="206" y="284"/>
                </a:lnTo>
                <a:lnTo>
                  <a:pt x="211" y="279"/>
                </a:lnTo>
                <a:lnTo>
                  <a:pt x="214" y="274"/>
                </a:lnTo>
                <a:lnTo>
                  <a:pt x="217" y="269"/>
                </a:lnTo>
                <a:lnTo>
                  <a:pt x="221" y="264"/>
                </a:lnTo>
                <a:lnTo>
                  <a:pt x="226" y="261"/>
                </a:lnTo>
                <a:lnTo>
                  <a:pt x="230" y="256"/>
                </a:lnTo>
                <a:lnTo>
                  <a:pt x="235" y="251"/>
                </a:lnTo>
                <a:lnTo>
                  <a:pt x="238" y="248"/>
                </a:lnTo>
                <a:lnTo>
                  <a:pt x="244" y="244"/>
                </a:lnTo>
                <a:lnTo>
                  <a:pt x="244" y="242"/>
                </a:lnTo>
                <a:lnTo>
                  <a:pt x="248" y="239"/>
                </a:lnTo>
                <a:lnTo>
                  <a:pt x="249" y="237"/>
                </a:lnTo>
                <a:lnTo>
                  <a:pt x="252" y="235"/>
                </a:lnTo>
                <a:lnTo>
                  <a:pt x="255" y="231"/>
                </a:lnTo>
                <a:lnTo>
                  <a:pt x="260" y="227"/>
                </a:lnTo>
                <a:lnTo>
                  <a:pt x="262" y="224"/>
                </a:lnTo>
                <a:lnTo>
                  <a:pt x="268" y="219"/>
                </a:lnTo>
                <a:lnTo>
                  <a:pt x="273" y="215"/>
                </a:lnTo>
                <a:lnTo>
                  <a:pt x="279" y="212"/>
                </a:lnTo>
                <a:lnTo>
                  <a:pt x="281" y="208"/>
                </a:lnTo>
                <a:lnTo>
                  <a:pt x="285" y="206"/>
                </a:lnTo>
                <a:lnTo>
                  <a:pt x="287" y="203"/>
                </a:lnTo>
                <a:lnTo>
                  <a:pt x="292" y="201"/>
                </a:lnTo>
                <a:lnTo>
                  <a:pt x="296" y="199"/>
                </a:lnTo>
                <a:lnTo>
                  <a:pt x="298" y="197"/>
                </a:lnTo>
                <a:lnTo>
                  <a:pt x="303" y="194"/>
                </a:lnTo>
                <a:lnTo>
                  <a:pt x="308" y="193"/>
                </a:lnTo>
                <a:lnTo>
                  <a:pt x="310" y="189"/>
                </a:lnTo>
                <a:lnTo>
                  <a:pt x="315" y="188"/>
                </a:lnTo>
                <a:lnTo>
                  <a:pt x="318" y="184"/>
                </a:lnTo>
                <a:lnTo>
                  <a:pt x="323" y="182"/>
                </a:lnTo>
                <a:lnTo>
                  <a:pt x="328" y="179"/>
                </a:lnTo>
                <a:lnTo>
                  <a:pt x="333" y="177"/>
                </a:lnTo>
                <a:lnTo>
                  <a:pt x="338" y="175"/>
                </a:lnTo>
                <a:lnTo>
                  <a:pt x="342" y="174"/>
                </a:lnTo>
                <a:lnTo>
                  <a:pt x="347" y="170"/>
                </a:lnTo>
                <a:lnTo>
                  <a:pt x="352" y="168"/>
                </a:lnTo>
                <a:lnTo>
                  <a:pt x="358" y="165"/>
                </a:lnTo>
                <a:lnTo>
                  <a:pt x="363" y="164"/>
                </a:lnTo>
                <a:lnTo>
                  <a:pt x="369" y="162"/>
                </a:lnTo>
                <a:lnTo>
                  <a:pt x="375" y="160"/>
                </a:lnTo>
                <a:lnTo>
                  <a:pt x="381" y="158"/>
                </a:lnTo>
                <a:lnTo>
                  <a:pt x="387" y="157"/>
                </a:lnTo>
                <a:lnTo>
                  <a:pt x="393" y="154"/>
                </a:lnTo>
                <a:lnTo>
                  <a:pt x="399" y="152"/>
                </a:lnTo>
                <a:lnTo>
                  <a:pt x="405" y="151"/>
                </a:lnTo>
                <a:lnTo>
                  <a:pt x="412" y="150"/>
                </a:lnTo>
                <a:lnTo>
                  <a:pt x="418" y="147"/>
                </a:lnTo>
                <a:lnTo>
                  <a:pt x="425" y="146"/>
                </a:lnTo>
                <a:lnTo>
                  <a:pt x="431" y="145"/>
                </a:lnTo>
                <a:lnTo>
                  <a:pt x="439" y="144"/>
                </a:lnTo>
                <a:lnTo>
                  <a:pt x="445" y="142"/>
                </a:lnTo>
                <a:lnTo>
                  <a:pt x="453" y="141"/>
                </a:lnTo>
                <a:lnTo>
                  <a:pt x="460" y="140"/>
                </a:lnTo>
                <a:lnTo>
                  <a:pt x="468" y="140"/>
                </a:lnTo>
                <a:lnTo>
                  <a:pt x="475" y="139"/>
                </a:lnTo>
                <a:lnTo>
                  <a:pt x="484" y="139"/>
                </a:lnTo>
                <a:lnTo>
                  <a:pt x="491" y="139"/>
                </a:lnTo>
                <a:lnTo>
                  <a:pt x="500" y="139"/>
                </a:lnTo>
                <a:close/>
              </a:path>
            </a:pathLst>
          </a:custGeom>
          <a:solidFill>
            <a:srgbClr val="EAEAEA"/>
          </a:solidFill>
          <a:ln w="9525">
            <a:noFill/>
            <a:round/>
            <a:headEnd/>
            <a:tailEnd/>
          </a:ln>
        </p:spPr>
        <p:txBody>
          <a:bodyPr/>
          <a:lstStyle/>
          <a:p>
            <a:endParaRPr lang="en-US"/>
          </a:p>
        </p:txBody>
      </p:sp>
      <p:sp>
        <p:nvSpPr>
          <p:cNvPr id="39947" name="Oval 20"/>
          <p:cNvSpPr>
            <a:spLocks noChangeArrowheads="1"/>
          </p:cNvSpPr>
          <p:nvPr/>
        </p:nvSpPr>
        <p:spPr bwMode="gray">
          <a:xfrm>
            <a:off x="3557588" y="1331913"/>
            <a:ext cx="1595437" cy="1571625"/>
          </a:xfrm>
          <a:prstGeom prst="ellipse">
            <a:avLst/>
          </a:prstGeom>
          <a:solidFill>
            <a:srgbClr val="EAEAEA"/>
          </a:solidFill>
          <a:ln w="28575">
            <a:solidFill>
              <a:srgbClr val="DDDDDD"/>
            </a:solidFill>
            <a:round/>
            <a:headEnd/>
            <a:tailEnd/>
          </a:ln>
        </p:spPr>
        <p:txBody>
          <a:bodyPr/>
          <a:lstStyle/>
          <a:p>
            <a:endParaRPr lang="en-US"/>
          </a:p>
        </p:txBody>
      </p:sp>
      <p:sp>
        <p:nvSpPr>
          <p:cNvPr id="39948" name="Oval 21"/>
          <p:cNvSpPr>
            <a:spLocks noChangeArrowheads="1"/>
          </p:cNvSpPr>
          <p:nvPr/>
        </p:nvSpPr>
        <p:spPr bwMode="gray">
          <a:xfrm flipV="1">
            <a:off x="4244975" y="2009775"/>
            <a:ext cx="222250" cy="219075"/>
          </a:xfrm>
          <a:prstGeom prst="ellipse">
            <a:avLst/>
          </a:prstGeom>
          <a:solidFill>
            <a:srgbClr val="DDDDDD"/>
          </a:solidFill>
          <a:ln w="28575">
            <a:solidFill>
              <a:srgbClr val="DDDDDD"/>
            </a:solidFill>
            <a:round/>
            <a:headEnd/>
            <a:tailEnd/>
          </a:ln>
        </p:spPr>
        <p:txBody>
          <a:bodyPr/>
          <a:lstStyle/>
          <a:p>
            <a:endParaRPr lang="en-US"/>
          </a:p>
        </p:txBody>
      </p:sp>
      <p:sp>
        <p:nvSpPr>
          <p:cNvPr id="39949" name="Text Box 22"/>
          <p:cNvSpPr txBox="1">
            <a:spLocks noChangeArrowheads="1"/>
          </p:cNvSpPr>
          <p:nvPr/>
        </p:nvSpPr>
        <p:spPr bwMode="gray">
          <a:xfrm>
            <a:off x="3381375" y="1338263"/>
            <a:ext cx="1938338" cy="1527175"/>
          </a:xfrm>
          <a:prstGeom prst="rect">
            <a:avLst/>
          </a:prstGeom>
          <a:noFill/>
          <a:ln w="12700">
            <a:noFill/>
            <a:miter lim="800000"/>
            <a:headEnd/>
            <a:tailEnd/>
          </a:ln>
        </p:spPr>
        <p:txBody>
          <a:bodyPr anchor="ctr"/>
          <a:lstStyle/>
          <a:p>
            <a:pPr algn="ctr" eaLnBrk="0" hangingPunct="0">
              <a:buClr>
                <a:schemeClr val="accent2"/>
              </a:buClr>
              <a:buFont typeface="Symbol" pitchFamily="18" charset="2"/>
              <a:buNone/>
            </a:pPr>
            <a:r>
              <a:rPr lang="en-US" sz="1600" b="1"/>
              <a:t>Implementation Activities</a:t>
            </a:r>
            <a:endParaRPr lang="en-US" sz="1000"/>
          </a:p>
        </p:txBody>
      </p:sp>
      <p:sp>
        <p:nvSpPr>
          <p:cNvPr id="39950" name="Freeform 24"/>
          <p:cNvSpPr>
            <a:spLocks noChangeAspect="1"/>
          </p:cNvSpPr>
          <p:nvPr/>
        </p:nvSpPr>
        <p:spPr bwMode="gray">
          <a:xfrm>
            <a:off x="2347913" y="2986088"/>
            <a:ext cx="1066800" cy="1944687"/>
          </a:xfrm>
          <a:custGeom>
            <a:avLst/>
            <a:gdLst>
              <a:gd name="T0" fmla="*/ 381866 w 528"/>
              <a:gd name="T1" fmla="*/ 1770038 h 991"/>
              <a:gd name="T2" fmla="*/ 876877 w 528"/>
              <a:gd name="T3" fmla="*/ 1550255 h 991"/>
              <a:gd name="T4" fmla="*/ 1066800 w 528"/>
              <a:gd name="T5" fmla="*/ 1073405 h 991"/>
              <a:gd name="T6" fmla="*/ 1066800 w 528"/>
              <a:gd name="T7" fmla="*/ 1040045 h 991"/>
              <a:gd name="T8" fmla="*/ 1066800 w 528"/>
              <a:gd name="T9" fmla="*/ 1012572 h 991"/>
              <a:gd name="T10" fmla="*/ 1066800 w 528"/>
              <a:gd name="T11" fmla="*/ 967438 h 991"/>
              <a:gd name="T12" fmla="*/ 1066800 w 528"/>
              <a:gd name="T13" fmla="*/ 939965 h 991"/>
              <a:gd name="T14" fmla="*/ 1066800 w 528"/>
              <a:gd name="T15" fmla="*/ 885019 h 991"/>
              <a:gd name="T16" fmla="*/ 753629 w 528"/>
              <a:gd name="T17" fmla="*/ 423867 h 991"/>
              <a:gd name="T18" fmla="*/ 198005 w 528"/>
              <a:gd name="T19" fmla="*/ 121666 h 991"/>
              <a:gd name="T20" fmla="*/ 70716 w 528"/>
              <a:gd name="T21" fmla="*/ 270804 h 991"/>
              <a:gd name="T22" fmla="*/ 107084 w 528"/>
              <a:gd name="T23" fmla="*/ 270804 h 991"/>
              <a:gd name="T24" fmla="*/ 145473 w 528"/>
              <a:gd name="T25" fmla="*/ 274729 h 991"/>
              <a:gd name="T26" fmla="*/ 183861 w 528"/>
              <a:gd name="T27" fmla="*/ 280616 h 991"/>
              <a:gd name="T28" fmla="*/ 230332 w 528"/>
              <a:gd name="T29" fmla="*/ 292390 h 991"/>
              <a:gd name="T30" fmla="*/ 278823 w 528"/>
              <a:gd name="T31" fmla="*/ 304164 h 991"/>
              <a:gd name="T32" fmla="*/ 331355 w 528"/>
              <a:gd name="T33" fmla="*/ 319863 h 991"/>
              <a:gd name="T34" fmla="*/ 381866 w 528"/>
              <a:gd name="T35" fmla="*/ 341449 h 991"/>
              <a:gd name="T36" fmla="*/ 438439 w 528"/>
              <a:gd name="T37" fmla="*/ 368921 h 991"/>
              <a:gd name="T38" fmla="*/ 488950 w 528"/>
              <a:gd name="T39" fmla="*/ 402281 h 991"/>
              <a:gd name="T40" fmla="*/ 537441 w 528"/>
              <a:gd name="T41" fmla="*/ 441528 h 991"/>
              <a:gd name="T42" fmla="*/ 583911 w 528"/>
              <a:gd name="T43" fmla="*/ 486662 h 991"/>
              <a:gd name="T44" fmla="*/ 622300 w 528"/>
              <a:gd name="T45" fmla="*/ 521985 h 991"/>
              <a:gd name="T46" fmla="*/ 652607 w 528"/>
              <a:gd name="T47" fmla="*/ 559269 h 991"/>
              <a:gd name="T48" fmla="*/ 682914 w 528"/>
              <a:gd name="T49" fmla="*/ 598516 h 991"/>
              <a:gd name="T50" fmla="*/ 705139 w 528"/>
              <a:gd name="T51" fmla="*/ 639726 h 991"/>
              <a:gd name="T52" fmla="*/ 725343 w 528"/>
              <a:gd name="T53" fmla="*/ 680935 h 991"/>
              <a:gd name="T54" fmla="*/ 745548 w 528"/>
              <a:gd name="T55" fmla="*/ 726069 h 991"/>
              <a:gd name="T56" fmla="*/ 757670 w 528"/>
              <a:gd name="T57" fmla="*/ 765316 h 991"/>
              <a:gd name="T58" fmla="*/ 769793 w 528"/>
              <a:gd name="T59" fmla="*/ 808487 h 991"/>
              <a:gd name="T60" fmla="*/ 779895 w 528"/>
              <a:gd name="T61" fmla="*/ 847734 h 991"/>
              <a:gd name="T62" fmla="*/ 783936 w 528"/>
              <a:gd name="T63" fmla="*/ 885019 h 991"/>
              <a:gd name="T64" fmla="*/ 789998 w 528"/>
              <a:gd name="T65" fmla="*/ 922304 h 991"/>
              <a:gd name="T66" fmla="*/ 792018 w 528"/>
              <a:gd name="T67" fmla="*/ 957626 h 991"/>
              <a:gd name="T68" fmla="*/ 794039 w 528"/>
              <a:gd name="T69" fmla="*/ 989023 h 991"/>
              <a:gd name="T70" fmla="*/ 789998 w 528"/>
              <a:gd name="T71" fmla="*/ 1032195 h 991"/>
              <a:gd name="T72" fmla="*/ 783936 w 528"/>
              <a:gd name="T73" fmla="*/ 1063593 h 991"/>
              <a:gd name="T74" fmla="*/ 777875 w 528"/>
              <a:gd name="T75" fmla="*/ 1098915 h 991"/>
              <a:gd name="T76" fmla="*/ 767773 w 528"/>
              <a:gd name="T77" fmla="*/ 1142087 h 991"/>
              <a:gd name="T78" fmla="*/ 755650 w 528"/>
              <a:gd name="T79" fmla="*/ 1183296 h 991"/>
              <a:gd name="T80" fmla="*/ 737466 w 528"/>
              <a:gd name="T81" fmla="*/ 1230392 h 991"/>
              <a:gd name="T82" fmla="*/ 717261 w 528"/>
              <a:gd name="T83" fmla="*/ 1275526 h 991"/>
              <a:gd name="T84" fmla="*/ 695036 w 528"/>
              <a:gd name="T85" fmla="*/ 1324585 h 991"/>
              <a:gd name="T86" fmla="*/ 662709 w 528"/>
              <a:gd name="T87" fmla="*/ 1369719 h 991"/>
              <a:gd name="T88" fmla="*/ 630382 w 528"/>
              <a:gd name="T89" fmla="*/ 1414853 h 991"/>
              <a:gd name="T90" fmla="*/ 587952 w 528"/>
              <a:gd name="T91" fmla="*/ 1456062 h 991"/>
              <a:gd name="T92" fmla="*/ 561686 w 528"/>
              <a:gd name="T93" fmla="*/ 1481573 h 991"/>
              <a:gd name="T94" fmla="*/ 515216 w 528"/>
              <a:gd name="T95" fmla="*/ 1516895 h 991"/>
              <a:gd name="T96" fmla="*/ 478848 w 528"/>
              <a:gd name="T97" fmla="*/ 1546330 h 991"/>
              <a:gd name="T98" fmla="*/ 440459 w 528"/>
              <a:gd name="T99" fmla="*/ 1569879 h 991"/>
              <a:gd name="T100" fmla="*/ 398029 w 528"/>
              <a:gd name="T101" fmla="*/ 1593427 h 991"/>
              <a:gd name="T102" fmla="*/ 345498 w 528"/>
              <a:gd name="T103" fmla="*/ 1615013 h 991"/>
              <a:gd name="T104" fmla="*/ 290945 w 528"/>
              <a:gd name="T105" fmla="*/ 1636598 h 991"/>
              <a:gd name="T106" fmla="*/ 224270 w 528"/>
              <a:gd name="T107" fmla="*/ 1650335 h 991"/>
              <a:gd name="T108" fmla="*/ 155575 w 528"/>
              <a:gd name="T109" fmla="*/ 1666034 h 991"/>
              <a:gd name="T110" fmla="*/ 80818 w 528"/>
              <a:gd name="T111" fmla="*/ 1671921 h 99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8"/>
              <a:gd name="T169" fmla="*/ 0 h 991"/>
              <a:gd name="T170" fmla="*/ 528 w 528"/>
              <a:gd name="T171" fmla="*/ 991 h 99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8" h="991">
                <a:moveTo>
                  <a:pt x="32" y="852"/>
                </a:moveTo>
                <a:lnTo>
                  <a:pt x="35" y="991"/>
                </a:lnTo>
                <a:lnTo>
                  <a:pt x="79" y="990"/>
                </a:lnTo>
                <a:lnTo>
                  <a:pt x="97" y="929"/>
                </a:lnTo>
                <a:lnTo>
                  <a:pt x="189" y="902"/>
                </a:lnTo>
                <a:lnTo>
                  <a:pt x="250" y="944"/>
                </a:lnTo>
                <a:lnTo>
                  <a:pt x="318" y="904"/>
                </a:lnTo>
                <a:lnTo>
                  <a:pt x="315" y="833"/>
                </a:lnTo>
                <a:lnTo>
                  <a:pt x="365" y="780"/>
                </a:lnTo>
                <a:lnTo>
                  <a:pt x="434" y="790"/>
                </a:lnTo>
                <a:lnTo>
                  <a:pt x="482" y="715"/>
                </a:lnTo>
                <a:lnTo>
                  <a:pt x="441" y="656"/>
                </a:lnTo>
                <a:lnTo>
                  <a:pt x="468" y="560"/>
                </a:lnTo>
                <a:lnTo>
                  <a:pt x="528" y="551"/>
                </a:lnTo>
                <a:lnTo>
                  <a:pt x="528" y="547"/>
                </a:lnTo>
                <a:lnTo>
                  <a:pt x="528" y="543"/>
                </a:lnTo>
                <a:lnTo>
                  <a:pt x="528" y="541"/>
                </a:lnTo>
                <a:lnTo>
                  <a:pt x="528" y="537"/>
                </a:lnTo>
                <a:lnTo>
                  <a:pt x="528" y="534"/>
                </a:lnTo>
                <a:lnTo>
                  <a:pt x="528" y="530"/>
                </a:lnTo>
                <a:lnTo>
                  <a:pt x="528" y="528"/>
                </a:lnTo>
                <a:lnTo>
                  <a:pt x="528" y="526"/>
                </a:lnTo>
                <a:lnTo>
                  <a:pt x="528" y="522"/>
                </a:lnTo>
                <a:lnTo>
                  <a:pt x="528" y="518"/>
                </a:lnTo>
                <a:lnTo>
                  <a:pt x="528" y="516"/>
                </a:lnTo>
                <a:lnTo>
                  <a:pt x="528" y="512"/>
                </a:lnTo>
                <a:lnTo>
                  <a:pt x="528" y="506"/>
                </a:lnTo>
                <a:lnTo>
                  <a:pt x="528" y="500"/>
                </a:lnTo>
                <a:lnTo>
                  <a:pt x="528" y="497"/>
                </a:lnTo>
                <a:lnTo>
                  <a:pt x="528" y="493"/>
                </a:lnTo>
                <a:lnTo>
                  <a:pt x="528" y="491"/>
                </a:lnTo>
                <a:lnTo>
                  <a:pt x="528" y="488"/>
                </a:lnTo>
                <a:lnTo>
                  <a:pt x="528" y="485"/>
                </a:lnTo>
                <a:lnTo>
                  <a:pt x="528" y="481"/>
                </a:lnTo>
                <a:lnTo>
                  <a:pt x="528" y="479"/>
                </a:lnTo>
                <a:lnTo>
                  <a:pt x="528" y="475"/>
                </a:lnTo>
                <a:lnTo>
                  <a:pt x="528" y="469"/>
                </a:lnTo>
                <a:lnTo>
                  <a:pt x="528" y="463"/>
                </a:lnTo>
                <a:lnTo>
                  <a:pt x="528" y="457"/>
                </a:lnTo>
                <a:lnTo>
                  <a:pt x="528" y="451"/>
                </a:lnTo>
                <a:lnTo>
                  <a:pt x="467" y="433"/>
                </a:lnTo>
                <a:lnTo>
                  <a:pt x="441" y="341"/>
                </a:lnTo>
                <a:lnTo>
                  <a:pt x="483" y="280"/>
                </a:lnTo>
                <a:lnTo>
                  <a:pt x="443" y="212"/>
                </a:lnTo>
                <a:lnTo>
                  <a:pt x="373" y="216"/>
                </a:lnTo>
                <a:lnTo>
                  <a:pt x="320" y="165"/>
                </a:lnTo>
                <a:lnTo>
                  <a:pt x="328" y="96"/>
                </a:lnTo>
                <a:lnTo>
                  <a:pt x="253" y="48"/>
                </a:lnTo>
                <a:lnTo>
                  <a:pt x="195" y="90"/>
                </a:lnTo>
                <a:lnTo>
                  <a:pt x="98" y="62"/>
                </a:lnTo>
                <a:lnTo>
                  <a:pt x="89" y="3"/>
                </a:lnTo>
                <a:lnTo>
                  <a:pt x="31" y="0"/>
                </a:lnTo>
                <a:lnTo>
                  <a:pt x="0" y="64"/>
                </a:lnTo>
                <a:lnTo>
                  <a:pt x="34" y="138"/>
                </a:lnTo>
                <a:lnTo>
                  <a:pt x="35" y="138"/>
                </a:lnTo>
                <a:lnTo>
                  <a:pt x="37" y="138"/>
                </a:lnTo>
                <a:lnTo>
                  <a:pt x="40" y="138"/>
                </a:lnTo>
                <a:lnTo>
                  <a:pt x="43" y="138"/>
                </a:lnTo>
                <a:lnTo>
                  <a:pt x="48" y="138"/>
                </a:lnTo>
                <a:lnTo>
                  <a:pt x="53" y="138"/>
                </a:lnTo>
                <a:lnTo>
                  <a:pt x="59" y="139"/>
                </a:lnTo>
                <a:lnTo>
                  <a:pt x="62" y="139"/>
                </a:lnTo>
                <a:lnTo>
                  <a:pt x="65" y="139"/>
                </a:lnTo>
                <a:lnTo>
                  <a:pt x="68" y="139"/>
                </a:lnTo>
                <a:lnTo>
                  <a:pt x="72" y="140"/>
                </a:lnTo>
                <a:lnTo>
                  <a:pt x="76" y="140"/>
                </a:lnTo>
                <a:lnTo>
                  <a:pt x="79" y="141"/>
                </a:lnTo>
                <a:lnTo>
                  <a:pt x="84" y="141"/>
                </a:lnTo>
                <a:lnTo>
                  <a:pt x="88" y="143"/>
                </a:lnTo>
                <a:lnTo>
                  <a:pt x="91" y="143"/>
                </a:lnTo>
                <a:lnTo>
                  <a:pt x="96" y="144"/>
                </a:lnTo>
                <a:lnTo>
                  <a:pt x="100" y="145"/>
                </a:lnTo>
                <a:lnTo>
                  <a:pt x="106" y="146"/>
                </a:lnTo>
                <a:lnTo>
                  <a:pt x="109" y="147"/>
                </a:lnTo>
                <a:lnTo>
                  <a:pt x="114" y="149"/>
                </a:lnTo>
                <a:lnTo>
                  <a:pt x="119" y="150"/>
                </a:lnTo>
                <a:lnTo>
                  <a:pt x="123" y="151"/>
                </a:lnTo>
                <a:lnTo>
                  <a:pt x="128" y="151"/>
                </a:lnTo>
                <a:lnTo>
                  <a:pt x="133" y="152"/>
                </a:lnTo>
                <a:lnTo>
                  <a:pt x="138" y="155"/>
                </a:lnTo>
                <a:lnTo>
                  <a:pt x="144" y="156"/>
                </a:lnTo>
                <a:lnTo>
                  <a:pt x="149" y="157"/>
                </a:lnTo>
                <a:lnTo>
                  <a:pt x="153" y="159"/>
                </a:lnTo>
                <a:lnTo>
                  <a:pt x="158" y="161"/>
                </a:lnTo>
                <a:lnTo>
                  <a:pt x="164" y="163"/>
                </a:lnTo>
                <a:lnTo>
                  <a:pt x="169" y="164"/>
                </a:lnTo>
                <a:lnTo>
                  <a:pt x="174" y="167"/>
                </a:lnTo>
                <a:lnTo>
                  <a:pt x="180" y="169"/>
                </a:lnTo>
                <a:lnTo>
                  <a:pt x="185" y="171"/>
                </a:lnTo>
                <a:lnTo>
                  <a:pt x="189" y="174"/>
                </a:lnTo>
                <a:lnTo>
                  <a:pt x="195" y="176"/>
                </a:lnTo>
                <a:lnTo>
                  <a:pt x="200" y="178"/>
                </a:lnTo>
                <a:lnTo>
                  <a:pt x="206" y="182"/>
                </a:lnTo>
                <a:lnTo>
                  <a:pt x="211" y="184"/>
                </a:lnTo>
                <a:lnTo>
                  <a:pt x="217" y="188"/>
                </a:lnTo>
                <a:lnTo>
                  <a:pt x="222" y="190"/>
                </a:lnTo>
                <a:lnTo>
                  <a:pt x="226" y="194"/>
                </a:lnTo>
                <a:lnTo>
                  <a:pt x="231" y="198"/>
                </a:lnTo>
                <a:lnTo>
                  <a:pt x="237" y="200"/>
                </a:lnTo>
                <a:lnTo>
                  <a:pt x="242" y="205"/>
                </a:lnTo>
                <a:lnTo>
                  <a:pt x="247" y="208"/>
                </a:lnTo>
                <a:lnTo>
                  <a:pt x="252" y="212"/>
                </a:lnTo>
                <a:lnTo>
                  <a:pt x="256" y="216"/>
                </a:lnTo>
                <a:lnTo>
                  <a:pt x="261" y="220"/>
                </a:lnTo>
                <a:lnTo>
                  <a:pt x="266" y="225"/>
                </a:lnTo>
                <a:lnTo>
                  <a:pt x="271" y="229"/>
                </a:lnTo>
                <a:lnTo>
                  <a:pt x="276" y="234"/>
                </a:lnTo>
                <a:lnTo>
                  <a:pt x="280" y="238"/>
                </a:lnTo>
                <a:lnTo>
                  <a:pt x="285" y="244"/>
                </a:lnTo>
                <a:lnTo>
                  <a:pt x="289" y="248"/>
                </a:lnTo>
                <a:lnTo>
                  <a:pt x="292" y="250"/>
                </a:lnTo>
                <a:lnTo>
                  <a:pt x="297" y="254"/>
                </a:lnTo>
                <a:lnTo>
                  <a:pt x="301" y="259"/>
                </a:lnTo>
                <a:lnTo>
                  <a:pt x="304" y="261"/>
                </a:lnTo>
                <a:lnTo>
                  <a:pt x="308" y="266"/>
                </a:lnTo>
                <a:lnTo>
                  <a:pt x="312" y="269"/>
                </a:lnTo>
                <a:lnTo>
                  <a:pt x="315" y="273"/>
                </a:lnTo>
                <a:lnTo>
                  <a:pt x="318" y="277"/>
                </a:lnTo>
                <a:lnTo>
                  <a:pt x="320" y="281"/>
                </a:lnTo>
                <a:lnTo>
                  <a:pt x="323" y="285"/>
                </a:lnTo>
                <a:lnTo>
                  <a:pt x="327" y="289"/>
                </a:lnTo>
                <a:lnTo>
                  <a:pt x="329" y="293"/>
                </a:lnTo>
                <a:lnTo>
                  <a:pt x="332" y="297"/>
                </a:lnTo>
                <a:lnTo>
                  <a:pt x="335" y="301"/>
                </a:lnTo>
                <a:lnTo>
                  <a:pt x="338" y="305"/>
                </a:lnTo>
                <a:lnTo>
                  <a:pt x="340" y="309"/>
                </a:lnTo>
                <a:lnTo>
                  <a:pt x="343" y="314"/>
                </a:lnTo>
                <a:lnTo>
                  <a:pt x="345" y="317"/>
                </a:lnTo>
                <a:lnTo>
                  <a:pt x="347" y="322"/>
                </a:lnTo>
                <a:lnTo>
                  <a:pt x="349" y="326"/>
                </a:lnTo>
                <a:lnTo>
                  <a:pt x="351" y="330"/>
                </a:lnTo>
                <a:lnTo>
                  <a:pt x="353" y="334"/>
                </a:lnTo>
                <a:lnTo>
                  <a:pt x="356" y="339"/>
                </a:lnTo>
                <a:lnTo>
                  <a:pt x="358" y="344"/>
                </a:lnTo>
                <a:lnTo>
                  <a:pt x="359" y="347"/>
                </a:lnTo>
                <a:lnTo>
                  <a:pt x="362" y="352"/>
                </a:lnTo>
                <a:lnTo>
                  <a:pt x="363" y="357"/>
                </a:lnTo>
                <a:lnTo>
                  <a:pt x="365" y="360"/>
                </a:lnTo>
                <a:lnTo>
                  <a:pt x="367" y="365"/>
                </a:lnTo>
                <a:lnTo>
                  <a:pt x="369" y="370"/>
                </a:lnTo>
                <a:lnTo>
                  <a:pt x="370" y="374"/>
                </a:lnTo>
                <a:lnTo>
                  <a:pt x="371" y="378"/>
                </a:lnTo>
                <a:lnTo>
                  <a:pt x="373" y="382"/>
                </a:lnTo>
                <a:lnTo>
                  <a:pt x="374" y="386"/>
                </a:lnTo>
                <a:lnTo>
                  <a:pt x="375" y="390"/>
                </a:lnTo>
                <a:lnTo>
                  <a:pt x="376" y="395"/>
                </a:lnTo>
                <a:lnTo>
                  <a:pt x="377" y="399"/>
                </a:lnTo>
                <a:lnTo>
                  <a:pt x="379" y="403"/>
                </a:lnTo>
                <a:lnTo>
                  <a:pt x="380" y="408"/>
                </a:lnTo>
                <a:lnTo>
                  <a:pt x="381" y="412"/>
                </a:lnTo>
                <a:lnTo>
                  <a:pt x="382" y="415"/>
                </a:lnTo>
                <a:lnTo>
                  <a:pt x="382" y="420"/>
                </a:lnTo>
                <a:lnTo>
                  <a:pt x="383" y="424"/>
                </a:lnTo>
                <a:lnTo>
                  <a:pt x="385" y="429"/>
                </a:lnTo>
                <a:lnTo>
                  <a:pt x="386" y="432"/>
                </a:lnTo>
                <a:lnTo>
                  <a:pt x="386" y="436"/>
                </a:lnTo>
                <a:lnTo>
                  <a:pt x="387" y="441"/>
                </a:lnTo>
                <a:lnTo>
                  <a:pt x="387" y="444"/>
                </a:lnTo>
                <a:lnTo>
                  <a:pt x="387" y="448"/>
                </a:lnTo>
                <a:lnTo>
                  <a:pt x="388" y="451"/>
                </a:lnTo>
                <a:lnTo>
                  <a:pt x="388" y="456"/>
                </a:lnTo>
                <a:lnTo>
                  <a:pt x="389" y="459"/>
                </a:lnTo>
                <a:lnTo>
                  <a:pt x="389" y="463"/>
                </a:lnTo>
                <a:lnTo>
                  <a:pt x="391" y="467"/>
                </a:lnTo>
                <a:lnTo>
                  <a:pt x="391" y="470"/>
                </a:lnTo>
                <a:lnTo>
                  <a:pt x="391" y="474"/>
                </a:lnTo>
                <a:lnTo>
                  <a:pt x="392" y="478"/>
                </a:lnTo>
                <a:lnTo>
                  <a:pt x="392" y="481"/>
                </a:lnTo>
                <a:lnTo>
                  <a:pt x="392" y="485"/>
                </a:lnTo>
                <a:lnTo>
                  <a:pt x="392" y="488"/>
                </a:lnTo>
                <a:lnTo>
                  <a:pt x="393" y="492"/>
                </a:lnTo>
                <a:lnTo>
                  <a:pt x="393" y="496"/>
                </a:lnTo>
                <a:lnTo>
                  <a:pt x="394" y="499"/>
                </a:lnTo>
                <a:lnTo>
                  <a:pt x="393" y="500"/>
                </a:lnTo>
                <a:lnTo>
                  <a:pt x="393" y="504"/>
                </a:lnTo>
                <a:lnTo>
                  <a:pt x="393" y="508"/>
                </a:lnTo>
                <a:lnTo>
                  <a:pt x="393" y="512"/>
                </a:lnTo>
                <a:lnTo>
                  <a:pt x="392" y="517"/>
                </a:lnTo>
                <a:lnTo>
                  <a:pt x="391" y="523"/>
                </a:lnTo>
                <a:lnTo>
                  <a:pt x="391" y="526"/>
                </a:lnTo>
                <a:lnTo>
                  <a:pt x="391" y="529"/>
                </a:lnTo>
                <a:lnTo>
                  <a:pt x="389" y="532"/>
                </a:lnTo>
                <a:lnTo>
                  <a:pt x="389" y="535"/>
                </a:lnTo>
                <a:lnTo>
                  <a:pt x="388" y="539"/>
                </a:lnTo>
                <a:lnTo>
                  <a:pt x="388" y="542"/>
                </a:lnTo>
                <a:lnTo>
                  <a:pt x="387" y="545"/>
                </a:lnTo>
                <a:lnTo>
                  <a:pt x="387" y="549"/>
                </a:lnTo>
                <a:lnTo>
                  <a:pt x="386" y="553"/>
                </a:lnTo>
                <a:lnTo>
                  <a:pt x="386" y="557"/>
                </a:lnTo>
                <a:lnTo>
                  <a:pt x="385" y="560"/>
                </a:lnTo>
                <a:lnTo>
                  <a:pt x="385" y="565"/>
                </a:lnTo>
                <a:lnTo>
                  <a:pt x="383" y="569"/>
                </a:lnTo>
                <a:lnTo>
                  <a:pt x="382" y="573"/>
                </a:lnTo>
                <a:lnTo>
                  <a:pt x="381" y="577"/>
                </a:lnTo>
                <a:lnTo>
                  <a:pt x="380" y="582"/>
                </a:lnTo>
                <a:lnTo>
                  <a:pt x="379" y="585"/>
                </a:lnTo>
                <a:lnTo>
                  <a:pt x="377" y="590"/>
                </a:lnTo>
                <a:lnTo>
                  <a:pt x="376" y="595"/>
                </a:lnTo>
                <a:lnTo>
                  <a:pt x="375" y="600"/>
                </a:lnTo>
                <a:lnTo>
                  <a:pt x="374" y="603"/>
                </a:lnTo>
                <a:lnTo>
                  <a:pt x="373" y="608"/>
                </a:lnTo>
                <a:lnTo>
                  <a:pt x="370" y="613"/>
                </a:lnTo>
                <a:lnTo>
                  <a:pt x="369" y="618"/>
                </a:lnTo>
                <a:lnTo>
                  <a:pt x="367" y="622"/>
                </a:lnTo>
                <a:lnTo>
                  <a:pt x="365" y="627"/>
                </a:lnTo>
                <a:lnTo>
                  <a:pt x="363" y="631"/>
                </a:lnTo>
                <a:lnTo>
                  <a:pt x="362" y="637"/>
                </a:lnTo>
                <a:lnTo>
                  <a:pt x="359" y="642"/>
                </a:lnTo>
                <a:lnTo>
                  <a:pt x="357" y="645"/>
                </a:lnTo>
                <a:lnTo>
                  <a:pt x="355" y="650"/>
                </a:lnTo>
                <a:lnTo>
                  <a:pt x="353" y="655"/>
                </a:lnTo>
                <a:lnTo>
                  <a:pt x="351" y="660"/>
                </a:lnTo>
                <a:lnTo>
                  <a:pt x="349" y="664"/>
                </a:lnTo>
                <a:lnTo>
                  <a:pt x="346" y="669"/>
                </a:lnTo>
                <a:lnTo>
                  <a:pt x="344" y="675"/>
                </a:lnTo>
                <a:lnTo>
                  <a:pt x="340" y="679"/>
                </a:lnTo>
                <a:lnTo>
                  <a:pt x="338" y="683"/>
                </a:lnTo>
                <a:lnTo>
                  <a:pt x="334" y="688"/>
                </a:lnTo>
                <a:lnTo>
                  <a:pt x="332" y="693"/>
                </a:lnTo>
                <a:lnTo>
                  <a:pt x="328" y="698"/>
                </a:lnTo>
                <a:lnTo>
                  <a:pt x="325" y="703"/>
                </a:lnTo>
                <a:lnTo>
                  <a:pt x="321" y="706"/>
                </a:lnTo>
                <a:lnTo>
                  <a:pt x="319" y="712"/>
                </a:lnTo>
                <a:lnTo>
                  <a:pt x="315" y="716"/>
                </a:lnTo>
                <a:lnTo>
                  <a:pt x="312" y="721"/>
                </a:lnTo>
                <a:lnTo>
                  <a:pt x="307" y="725"/>
                </a:lnTo>
                <a:lnTo>
                  <a:pt x="303" y="729"/>
                </a:lnTo>
                <a:lnTo>
                  <a:pt x="300" y="734"/>
                </a:lnTo>
                <a:lnTo>
                  <a:pt x="295" y="739"/>
                </a:lnTo>
                <a:lnTo>
                  <a:pt x="291" y="742"/>
                </a:lnTo>
                <a:lnTo>
                  <a:pt x="288" y="747"/>
                </a:lnTo>
                <a:lnTo>
                  <a:pt x="285" y="747"/>
                </a:lnTo>
                <a:lnTo>
                  <a:pt x="283" y="751"/>
                </a:lnTo>
                <a:lnTo>
                  <a:pt x="280" y="752"/>
                </a:lnTo>
                <a:lnTo>
                  <a:pt x="278" y="755"/>
                </a:lnTo>
                <a:lnTo>
                  <a:pt x="274" y="759"/>
                </a:lnTo>
                <a:lnTo>
                  <a:pt x="271" y="762"/>
                </a:lnTo>
                <a:lnTo>
                  <a:pt x="266" y="765"/>
                </a:lnTo>
                <a:lnTo>
                  <a:pt x="261" y="770"/>
                </a:lnTo>
                <a:lnTo>
                  <a:pt x="255" y="773"/>
                </a:lnTo>
                <a:lnTo>
                  <a:pt x="250" y="778"/>
                </a:lnTo>
                <a:lnTo>
                  <a:pt x="247" y="780"/>
                </a:lnTo>
                <a:lnTo>
                  <a:pt x="243" y="783"/>
                </a:lnTo>
                <a:lnTo>
                  <a:pt x="241" y="785"/>
                </a:lnTo>
                <a:lnTo>
                  <a:pt x="237" y="788"/>
                </a:lnTo>
                <a:lnTo>
                  <a:pt x="234" y="790"/>
                </a:lnTo>
                <a:lnTo>
                  <a:pt x="230" y="792"/>
                </a:lnTo>
                <a:lnTo>
                  <a:pt x="226" y="795"/>
                </a:lnTo>
                <a:lnTo>
                  <a:pt x="223" y="798"/>
                </a:lnTo>
                <a:lnTo>
                  <a:pt x="218" y="800"/>
                </a:lnTo>
                <a:lnTo>
                  <a:pt x="214" y="802"/>
                </a:lnTo>
                <a:lnTo>
                  <a:pt x="210" y="804"/>
                </a:lnTo>
                <a:lnTo>
                  <a:pt x="206" y="807"/>
                </a:lnTo>
                <a:lnTo>
                  <a:pt x="201" y="809"/>
                </a:lnTo>
                <a:lnTo>
                  <a:pt x="197" y="812"/>
                </a:lnTo>
                <a:lnTo>
                  <a:pt x="192" y="814"/>
                </a:lnTo>
                <a:lnTo>
                  <a:pt x="187" y="816"/>
                </a:lnTo>
                <a:lnTo>
                  <a:pt x="182" y="819"/>
                </a:lnTo>
                <a:lnTo>
                  <a:pt x="176" y="821"/>
                </a:lnTo>
                <a:lnTo>
                  <a:pt x="171" y="823"/>
                </a:lnTo>
                <a:lnTo>
                  <a:pt x="167" y="825"/>
                </a:lnTo>
                <a:lnTo>
                  <a:pt x="161" y="827"/>
                </a:lnTo>
                <a:lnTo>
                  <a:pt x="155" y="829"/>
                </a:lnTo>
                <a:lnTo>
                  <a:pt x="149" y="832"/>
                </a:lnTo>
                <a:lnTo>
                  <a:pt x="144" y="834"/>
                </a:lnTo>
                <a:lnTo>
                  <a:pt x="137" y="835"/>
                </a:lnTo>
                <a:lnTo>
                  <a:pt x="131" y="838"/>
                </a:lnTo>
                <a:lnTo>
                  <a:pt x="125" y="839"/>
                </a:lnTo>
                <a:lnTo>
                  <a:pt x="119" y="840"/>
                </a:lnTo>
                <a:lnTo>
                  <a:pt x="111" y="841"/>
                </a:lnTo>
                <a:lnTo>
                  <a:pt x="104" y="844"/>
                </a:lnTo>
                <a:lnTo>
                  <a:pt x="98" y="845"/>
                </a:lnTo>
                <a:lnTo>
                  <a:pt x="91" y="846"/>
                </a:lnTo>
                <a:lnTo>
                  <a:pt x="84" y="847"/>
                </a:lnTo>
                <a:lnTo>
                  <a:pt x="77" y="849"/>
                </a:lnTo>
                <a:lnTo>
                  <a:pt x="70" y="850"/>
                </a:lnTo>
                <a:lnTo>
                  <a:pt x="62" y="850"/>
                </a:lnTo>
                <a:lnTo>
                  <a:pt x="54" y="851"/>
                </a:lnTo>
                <a:lnTo>
                  <a:pt x="47" y="851"/>
                </a:lnTo>
                <a:lnTo>
                  <a:pt x="40" y="852"/>
                </a:lnTo>
                <a:lnTo>
                  <a:pt x="32" y="852"/>
                </a:lnTo>
                <a:close/>
              </a:path>
            </a:pathLst>
          </a:custGeom>
          <a:solidFill>
            <a:srgbClr val="EAEAEA"/>
          </a:solidFill>
          <a:ln w="9525">
            <a:noFill/>
            <a:round/>
            <a:headEnd/>
            <a:tailEnd/>
          </a:ln>
        </p:spPr>
        <p:txBody>
          <a:bodyPr/>
          <a:lstStyle/>
          <a:p>
            <a:endParaRPr lang="en-US"/>
          </a:p>
        </p:txBody>
      </p:sp>
      <p:sp>
        <p:nvSpPr>
          <p:cNvPr id="39951" name="Freeform 25"/>
          <p:cNvSpPr>
            <a:spLocks noChangeAspect="1"/>
          </p:cNvSpPr>
          <p:nvPr/>
        </p:nvSpPr>
        <p:spPr bwMode="gray">
          <a:xfrm>
            <a:off x="1419225" y="2986088"/>
            <a:ext cx="1052513" cy="1949450"/>
          </a:xfrm>
          <a:custGeom>
            <a:avLst/>
            <a:gdLst>
              <a:gd name="T0" fmla="*/ 686246 w 523"/>
              <a:gd name="T1" fmla="*/ 174900 h 992"/>
              <a:gd name="T2" fmla="*/ 193195 w 523"/>
              <a:gd name="T3" fmla="*/ 394999 h 992"/>
              <a:gd name="T4" fmla="*/ 2012 w 523"/>
              <a:gd name="T5" fmla="*/ 874501 h 992"/>
              <a:gd name="T6" fmla="*/ 0 w 523"/>
              <a:gd name="T7" fmla="*/ 931491 h 992"/>
              <a:gd name="T8" fmla="*/ 0 w 523"/>
              <a:gd name="T9" fmla="*/ 964899 h 992"/>
              <a:gd name="T10" fmla="*/ 0 w 523"/>
              <a:gd name="T11" fmla="*/ 996342 h 992"/>
              <a:gd name="T12" fmla="*/ 0 w 523"/>
              <a:gd name="T13" fmla="*/ 1029750 h 992"/>
              <a:gd name="T14" fmla="*/ 4025 w 523"/>
              <a:gd name="T15" fmla="*/ 1065123 h 992"/>
              <a:gd name="T16" fmla="*/ 317968 w 523"/>
              <a:gd name="T17" fmla="*/ 1526938 h 992"/>
              <a:gd name="T18" fmla="*/ 867367 w 523"/>
              <a:gd name="T19" fmla="*/ 1829575 h 992"/>
              <a:gd name="T20" fmla="*/ 994152 w 523"/>
              <a:gd name="T21" fmla="*/ 1676291 h 992"/>
              <a:gd name="T22" fmla="*/ 963965 w 523"/>
              <a:gd name="T23" fmla="*/ 1674326 h 992"/>
              <a:gd name="T24" fmla="*/ 923716 w 523"/>
              <a:gd name="T25" fmla="*/ 1672361 h 992"/>
              <a:gd name="T26" fmla="*/ 887492 w 523"/>
              <a:gd name="T27" fmla="*/ 1666465 h 992"/>
              <a:gd name="T28" fmla="*/ 843218 w 523"/>
              <a:gd name="T29" fmla="*/ 1654674 h 992"/>
              <a:gd name="T30" fmla="*/ 794919 w 523"/>
              <a:gd name="T31" fmla="*/ 1646814 h 992"/>
              <a:gd name="T32" fmla="*/ 742595 w 523"/>
              <a:gd name="T33" fmla="*/ 1629127 h 992"/>
              <a:gd name="T34" fmla="*/ 692284 w 523"/>
              <a:gd name="T35" fmla="*/ 1611441 h 992"/>
              <a:gd name="T36" fmla="*/ 637948 w 523"/>
              <a:gd name="T37" fmla="*/ 1585893 h 992"/>
              <a:gd name="T38" fmla="*/ 587636 w 523"/>
              <a:gd name="T39" fmla="*/ 1552485 h 992"/>
              <a:gd name="T40" fmla="*/ 537325 w 523"/>
              <a:gd name="T41" fmla="*/ 1517112 h 992"/>
              <a:gd name="T42" fmla="*/ 493051 w 523"/>
              <a:gd name="T43" fmla="*/ 1471913 h 992"/>
              <a:gd name="T44" fmla="*/ 464877 w 523"/>
              <a:gd name="T45" fmla="*/ 1446366 h 992"/>
              <a:gd name="T46" fmla="*/ 426640 w 523"/>
              <a:gd name="T47" fmla="*/ 1401167 h 992"/>
              <a:gd name="T48" fmla="*/ 402491 w 523"/>
              <a:gd name="T49" fmla="*/ 1367759 h 992"/>
              <a:gd name="T50" fmla="*/ 378341 w 523"/>
              <a:gd name="T51" fmla="*/ 1330421 h 992"/>
              <a:gd name="T52" fmla="*/ 354192 w 523"/>
              <a:gd name="T53" fmla="*/ 1283257 h 992"/>
              <a:gd name="T54" fmla="*/ 332055 w 523"/>
              <a:gd name="T55" fmla="*/ 1234128 h 992"/>
              <a:gd name="T56" fmla="*/ 309918 w 523"/>
              <a:gd name="T57" fmla="*/ 1179103 h 992"/>
              <a:gd name="T58" fmla="*/ 293818 w 523"/>
              <a:gd name="T59" fmla="*/ 1114252 h 992"/>
              <a:gd name="T60" fmla="*/ 281743 w 523"/>
              <a:gd name="T61" fmla="*/ 1043506 h 992"/>
              <a:gd name="T62" fmla="*/ 277719 w 523"/>
              <a:gd name="T63" fmla="*/ 970795 h 992"/>
              <a:gd name="T64" fmla="*/ 277719 w 523"/>
              <a:gd name="T65" fmla="*/ 935422 h 992"/>
              <a:gd name="T66" fmla="*/ 283756 w 523"/>
              <a:gd name="T67" fmla="*/ 888257 h 992"/>
              <a:gd name="T68" fmla="*/ 289793 w 523"/>
              <a:gd name="T69" fmla="*/ 850919 h 992"/>
              <a:gd name="T70" fmla="*/ 297843 w 523"/>
              <a:gd name="T71" fmla="*/ 811616 h 992"/>
              <a:gd name="T72" fmla="*/ 309918 w 523"/>
              <a:gd name="T73" fmla="*/ 766417 h 992"/>
              <a:gd name="T74" fmla="*/ 324005 w 523"/>
              <a:gd name="T75" fmla="*/ 719253 h 992"/>
              <a:gd name="T76" fmla="*/ 346142 w 523"/>
              <a:gd name="T77" fmla="*/ 670124 h 992"/>
              <a:gd name="T78" fmla="*/ 372304 w 523"/>
              <a:gd name="T79" fmla="*/ 622959 h 992"/>
              <a:gd name="T80" fmla="*/ 402491 w 523"/>
              <a:gd name="T81" fmla="*/ 573830 h 992"/>
              <a:gd name="T82" fmla="*/ 436702 w 523"/>
              <a:gd name="T83" fmla="*/ 528631 h 992"/>
              <a:gd name="T84" fmla="*/ 478964 w 523"/>
              <a:gd name="T85" fmla="*/ 487363 h 992"/>
              <a:gd name="T86" fmla="*/ 507138 w 523"/>
              <a:gd name="T87" fmla="*/ 461815 h 992"/>
              <a:gd name="T88" fmla="*/ 549400 w 523"/>
              <a:gd name="T89" fmla="*/ 422512 h 992"/>
              <a:gd name="T90" fmla="*/ 587636 w 523"/>
              <a:gd name="T91" fmla="*/ 394999 h 992"/>
              <a:gd name="T92" fmla="*/ 623860 w 523"/>
              <a:gd name="T93" fmla="*/ 371417 h 992"/>
              <a:gd name="T94" fmla="*/ 670147 w 523"/>
              <a:gd name="T95" fmla="*/ 347835 h 992"/>
              <a:gd name="T96" fmla="*/ 720458 w 523"/>
              <a:gd name="T97" fmla="*/ 324253 h 992"/>
              <a:gd name="T98" fmla="*/ 778819 w 523"/>
              <a:gd name="T99" fmla="*/ 308532 h 992"/>
              <a:gd name="T100" fmla="*/ 841205 w 523"/>
              <a:gd name="T101" fmla="*/ 288880 h 992"/>
              <a:gd name="T102" fmla="*/ 911641 w 523"/>
              <a:gd name="T103" fmla="*/ 277089 h 992"/>
              <a:gd name="T104" fmla="*/ 988114 w 523"/>
              <a:gd name="T105" fmla="*/ 273159 h 99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23"/>
              <a:gd name="T160" fmla="*/ 0 h 992"/>
              <a:gd name="T161" fmla="*/ 523 w 523"/>
              <a:gd name="T162" fmla="*/ 992 h 99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23" h="992">
                <a:moveTo>
                  <a:pt x="500" y="139"/>
                </a:moveTo>
                <a:lnTo>
                  <a:pt x="497" y="0"/>
                </a:lnTo>
                <a:lnTo>
                  <a:pt x="453" y="1"/>
                </a:lnTo>
                <a:lnTo>
                  <a:pt x="435" y="63"/>
                </a:lnTo>
                <a:lnTo>
                  <a:pt x="341" y="89"/>
                </a:lnTo>
                <a:lnTo>
                  <a:pt x="281" y="48"/>
                </a:lnTo>
                <a:lnTo>
                  <a:pt x="213" y="86"/>
                </a:lnTo>
                <a:lnTo>
                  <a:pt x="217" y="158"/>
                </a:lnTo>
                <a:lnTo>
                  <a:pt x="166" y="212"/>
                </a:lnTo>
                <a:lnTo>
                  <a:pt x="96" y="201"/>
                </a:lnTo>
                <a:lnTo>
                  <a:pt x="49" y="276"/>
                </a:lnTo>
                <a:lnTo>
                  <a:pt x="91" y="335"/>
                </a:lnTo>
                <a:lnTo>
                  <a:pt x="63" y="424"/>
                </a:lnTo>
                <a:lnTo>
                  <a:pt x="2" y="440"/>
                </a:lnTo>
                <a:lnTo>
                  <a:pt x="1" y="445"/>
                </a:lnTo>
                <a:lnTo>
                  <a:pt x="1" y="450"/>
                </a:lnTo>
                <a:lnTo>
                  <a:pt x="0" y="456"/>
                </a:lnTo>
                <a:lnTo>
                  <a:pt x="0" y="462"/>
                </a:lnTo>
                <a:lnTo>
                  <a:pt x="0" y="468"/>
                </a:lnTo>
                <a:lnTo>
                  <a:pt x="0" y="474"/>
                </a:lnTo>
                <a:lnTo>
                  <a:pt x="0" y="477"/>
                </a:lnTo>
                <a:lnTo>
                  <a:pt x="0" y="481"/>
                </a:lnTo>
                <a:lnTo>
                  <a:pt x="0" y="483"/>
                </a:lnTo>
                <a:lnTo>
                  <a:pt x="0" y="487"/>
                </a:lnTo>
                <a:lnTo>
                  <a:pt x="0" y="491"/>
                </a:lnTo>
                <a:lnTo>
                  <a:pt x="0" y="494"/>
                </a:lnTo>
                <a:lnTo>
                  <a:pt x="0" y="497"/>
                </a:lnTo>
                <a:lnTo>
                  <a:pt x="0" y="500"/>
                </a:lnTo>
                <a:lnTo>
                  <a:pt x="0" y="504"/>
                </a:lnTo>
                <a:lnTo>
                  <a:pt x="0" y="507"/>
                </a:lnTo>
                <a:lnTo>
                  <a:pt x="0" y="511"/>
                </a:lnTo>
                <a:lnTo>
                  <a:pt x="0" y="515"/>
                </a:lnTo>
                <a:lnTo>
                  <a:pt x="0" y="518"/>
                </a:lnTo>
                <a:lnTo>
                  <a:pt x="0" y="521"/>
                </a:lnTo>
                <a:lnTo>
                  <a:pt x="0" y="524"/>
                </a:lnTo>
                <a:lnTo>
                  <a:pt x="1" y="528"/>
                </a:lnTo>
                <a:lnTo>
                  <a:pt x="1" y="531"/>
                </a:lnTo>
                <a:lnTo>
                  <a:pt x="1" y="535"/>
                </a:lnTo>
                <a:lnTo>
                  <a:pt x="2" y="538"/>
                </a:lnTo>
                <a:lnTo>
                  <a:pt x="2" y="542"/>
                </a:lnTo>
                <a:lnTo>
                  <a:pt x="63" y="559"/>
                </a:lnTo>
                <a:lnTo>
                  <a:pt x="88" y="652"/>
                </a:lnTo>
                <a:lnTo>
                  <a:pt x="48" y="711"/>
                </a:lnTo>
                <a:lnTo>
                  <a:pt x="86" y="780"/>
                </a:lnTo>
                <a:lnTo>
                  <a:pt x="158" y="777"/>
                </a:lnTo>
                <a:lnTo>
                  <a:pt x="212" y="826"/>
                </a:lnTo>
                <a:lnTo>
                  <a:pt x="201" y="897"/>
                </a:lnTo>
                <a:lnTo>
                  <a:pt x="278" y="944"/>
                </a:lnTo>
                <a:lnTo>
                  <a:pt x="334" y="903"/>
                </a:lnTo>
                <a:lnTo>
                  <a:pt x="431" y="931"/>
                </a:lnTo>
                <a:lnTo>
                  <a:pt x="442" y="988"/>
                </a:lnTo>
                <a:lnTo>
                  <a:pt x="497" y="992"/>
                </a:lnTo>
                <a:lnTo>
                  <a:pt x="523" y="935"/>
                </a:lnTo>
                <a:lnTo>
                  <a:pt x="496" y="853"/>
                </a:lnTo>
                <a:lnTo>
                  <a:pt x="494" y="853"/>
                </a:lnTo>
                <a:lnTo>
                  <a:pt x="493" y="853"/>
                </a:lnTo>
                <a:lnTo>
                  <a:pt x="491" y="853"/>
                </a:lnTo>
                <a:lnTo>
                  <a:pt x="488" y="853"/>
                </a:lnTo>
                <a:lnTo>
                  <a:pt x="484" y="852"/>
                </a:lnTo>
                <a:lnTo>
                  <a:pt x="479" y="852"/>
                </a:lnTo>
                <a:lnTo>
                  <a:pt x="474" y="852"/>
                </a:lnTo>
                <a:lnTo>
                  <a:pt x="469" y="852"/>
                </a:lnTo>
                <a:lnTo>
                  <a:pt x="466" y="851"/>
                </a:lnTo>
                <a:lnTo>
                  <a:pt x="462" y="851"/>
                </a:lnTo>
                <a:lnTo>
                  <a:pt x="459" y="851"/>
                </a:lnTo>
                <a:lnTo>
                  <a:pt x="455" y="850"/>
                </a:lnTo>
                <a:lnTo>
                  <a:pt x="451" y="850"/>
                </a:lnTo>
                <a:lnTo>
                  <a:pt x="448" y="848"/>
                </a:lnTo>
                <a:lnTo>
                  <a:pt x="444" y="848"/>
                </a:lnTo>
                <a:lnTo>
                  <a:pt x="441" y="848"/>
                </a:lnTo>
                <a:lnTo>
                  <a:pt x="436" y="847"/>
                </a:lnTo>
                <a:lnTo>
                  <a:pt x="432" y="846"/>
                </a:lnTo>
                <a:lnTo>
                  <a:pt x="427" y="845"/>
                </a:lnTo>
                <a:lnTo>
                  <a:pt x="424" y="844"/>
                </a:lnTo>
                <a:lnTo>
                  <a:pt x="419" y="842"/>
                </a:lnTo>
                <a:lnTo>
                  <a:pt x="414" y="842"/>
                </a:lnTo>
                <a:lnTo>
                  <a:pt x="409" y="841"/>
                </a:lnTo>
                <a:lnTo>
                  <a:pt x="405" y="840"/>
                </a:lnTo>
                <a:lnTo>
                  <a:pt x="400" y="839"/>
                </a:lnTo>
                <a:lnTo>
                  <a:pt x="395" y="838"/>
                </a:lnTo>
                <a:lnTo>
                  <a:pt x="390" y="836"/>
                </a:lnTo>
                <a:lnTo>
                  <a:pt x="384" y="835"/>
                </a:lnTo>
                <a:lnTo>
                  <a:pt x="379" y="833"/>
                </a:lnTo>
                <a:lnTo>
                  <a:pt x="375" y="832"/>
                </a:lnTo>
                <a:lnTo>
                  <a:pt x="369" y="829"/>
                </a:lnTo>
                <a:lnTo>
                  <a:pt x="365" y="828"/>
                </a:lnTo>
                <a:lnTo>
                  <a:pt x="359" y="826"/>
                </a:lnTo>
                <a:lnTo>
                  <a:pt x="354" y="823"/>
                </a:lnTo>
                <a:lnTo>
                  <a:pt x="348" y="821"/>
                </a:lnTo>
                <a:lnTo>
                  <a:pt x="344" y="820"/>
                </a:lnTo>
                <a:lnTo>
                  <a:pt x="339" y="816"/>
                </a:lnTo>
                <a:lnTo>
                  <a:pt x="334" y="814"/>
                </a:lnTo>
                <a:lnTo>
                  <a:pt x="328" y="813"/>
                </a:lnTo>
                <a:lnTo>
                  <a:pt x="323" y="810"/>
                </a:lnTo>
                <a:lnTo>
                  <a:pt x="317" y="807"/>
                </a:lnTo>
                <a:lnTo>
                  <a:pt x="312" y="803"/>
                </a:lnTo>
                <a:lnTo>
                  <a:pt x="308" y="801"/>
                </a:lnTo>
                <a:lnTo>
                  <a:pt x="302" y="797"/>
                </a:lnTo>
                <a:lnTo>
                  <a:pt x="297" y="793"/>
                </a:lnTo>
                <a:lnTo>
                  <a:pt x="292" y="790"/>
                </a:lnTo>
                <a:lnTo>
                  <a:pt x="286" y="787"/>
                </a:lnTo>
                <a:lnTo>
                  <a:pt x="282" y="784"/>
                </a:lnTo>
                <a:lnTo>
                  <a:pt x="276" y="779"/>
                </a:lnTo>
                <a:lnTo>
                  <a:pt x="272" y="775"/>
                </a:lnTo>
                <a:lnTo>
                  <a:pt x="267" y="772"/>
                </a:lnTo>
                <a:lnTo>
                  <a:pt x="262" y="767"/>
                </a:lnTo>
                <a:lnTo>
                  <a:pt x="257" y="763"/>
                </a:lnTo>
                <a:lnTo>
                  <a:pt x="254" y="759"/>
                </a:lnTo>
                <a:lnTo>
                  <a:pt x="249" y="754"/>
                </a:lnTo>
                <a:lnTo>
                  <a:pt x="245" y="749"/>
                </a:lnTo>
                <a:lnTo>
                  <a:pt x="243" y="748"/>
                </a:lnTo>
                <a:lnTo>
                  <a:pt x="239" y="744"/>
                </a:lnTo>
                <a:lnTo>
                  <a:pt x="237" y="742"/>
                </a:lnTo>
                <a:lnTo>
                  <a:pt x="235" y="740"/>
                </a:lnTo>
                <a:lnTo>
                  <a:pt x="231" y="736"/>
                </a:lnTo>
                <a:lnTo>
                  <a:pt x="229" y="734"/>
                </a:lnTo>
                <a:lnTo>
                  <a:pt x="224" y="729"/>
                </a:lnTo>
                <a:lnTo>
                  <a:pt x="220" y="724"/>
                </a:lnTo>
                <a:lnTo>
                  <a:pt x="215" y="718"/>
                </a:lnTo>
                <a:lnTo>
                  <a:pt x="212" y="713"/>
                </a:lnTo>
                <a:lnTo>
                  <a:pt x="209" y="710"/>
                </a:lnTo>
                <a:lnTo>
                  <a:pt x="207" y="706"/>
                </a:lnTo>
                <a:lnTo>
                  <a:pt x="205" y="704"/>
                </a:lnTo>
                <a:lnTo>
                  <a:pt x="202" y="700"/>
                </a:lnTo>
                <a:lnTo>
                  <a:pt x="200" y="696"/>
                </a:lnTo>
                <a:lnTo>
                  <a:pt x="197" y="693"/>
                </a:lnTo>
                <a:lnTo>
                  <a:pt x="195" y="689"/>
                </a:lnTo>
                <a:lnTo>
                  <a:pt x="193" y="686"/>
                </a:lnTo>
                <a:lnTo>
                  <a:pt x="190" y="681"/>
                </a:lnTo>
                <a:lnTo>
                  <a:pt x="188" y="677"/>
                </a:lnTo>
                <a:lnTo>
                  <a:pt x="185" y="673"/>
                </a:lnTo>
                <a:lnTo>
                  <a:pt x="183" y="668"/>
                </a:lnTo>
                <a:lnTo>
                  <a:pt x="179" y="664"/>
                </a:lnTo>
                <a:lnTo>
                  <a:pt x="178" y="659"/>
                </a:lnTo>
                <a:lnTo>
                  <a:pt x="176" y="653"/>
                </a:lnTo>
                <a:lnTo>
                  <a:pt x="173" y="650"/>
                </a:lnTo>
                <a:lnTo>
                  <a:pt x="171" y="644"/>
                </a:lnTo>
                <a:lnTo>
                  <a:pt x="169" y="639"/>
                </a:lnTo>
                <a:lnTo>
                  <a:pt x="166" y="633"/>
                </a:lnTo>
                <a:lnTo>
                  <a:pt x="165" y="628"/>
                </a:lnTo>
                <a:lnTo>
                  <a:pt x="163" y="622"/>
                </a:lnTo>
                <a:lnTo>
                  <a:pt x="160" y="617"/>
                </a:lnTo>
                <a:lnTo>
                  <a:pt x="158" y="611"/>
                </a:lnTo>
                <a:lnTo>
                  <a:pt x="157" y="606"/>
                </a:lnTo>
                <a:lnTo>
                  <a:pt x="154" y="600"/>
                </a:lnTo>
                <a:lnTo>
                  <a:pt x="153" y="594"/>
                </a:lnTo>
                <a:lnTo>
                  <a:pt x="151" y="588"/>
                </a:lnTo>
                <a:lnTo>
                  <a:pt x="149" y="580"/>
                </a:lnTo>
                <a:lnTo>
                  <a:pt x="147" y="574"/>
                </a:lnTo>
                <a:lnTo>
                  <a:pt x="146" y="567"/>
                </a:lnTo>
                <a:lnTo>
                  <a:pt x="145" y="560"/>
                </a:lnTo>
                <a:lnTo>
                  <a:pt x="144" y="554"/>
                </a:lnTo>
                <a:lnTo>
                  <a:pt x="142" y="547"/>
                </a:lnTo>
                <a:lnTo>
                  <a:pt x="141" y="540"/>
                </a:lnTo>
                <a:lnTo>
                  <a:pt x="140" y="531"/>
                </a:lnTo>
                <a:lnTo>
                  <a:pt x="140" y="525"/>
                </a:lnTo>
                <a:lnTo>
                  <a:pt x="139" y="517"/>
                </a:lnTo>
                <a:lnTo>
                  <a:pt x="138" y="510"/>
                </a:lnTo>
                <a:lnTo>
                  <a:pt x="138" y="501"/>
                </a:lnTo>
                <a:lnTo>
                  <a:pt x="138" y="494"/>
                </a:lnTo>
                <a:lnTo>
                  <a:pt x="138" y="492"/>
                </a:lnTo>
                <a:lnTo>
                  <a:pt x="138" y="489"/>
                </a:lnTo>
                <a:lnTo>
                  <a:pt x="138" y="485"/>
                </a:lnTo>
                <a:lnTo>
                  <a:pt x="138" y="482"/>
                </a:lnTo>
                <a:lnTo>
                  <a:pt x="138" y="476"/>
                </a:lnTo>
                <a:lnTo>
                  <a:pt x="139" y="471"/>
                </a:lnTo>
                <a:lnTo>
                  <a:pt x="139" y="465"/>
                </a:lnTo>
                <a:lnTo>
                  <a:pt x="140" y="460"/>
                </a:lnTo>
                <a:lnTo>
                  <a:pt x="140" y="456"/>
                </a:lnTo>
                <a:lnTo>
                  <a:pt x="141" y="452"/>
                </a:lnTo>
                <a:lnTo>
                  <a:pt x="141" y="449"/>
                </a:lnTo>
                <a:lnTo>
                  <a:pt x="142" y="445"/>
                </a:lnTo>
                <a:lnTo>
                  <a:pt x="142" y="442"/>
                </a:lnTo>
                <a:lnTo>
                  <a:pt x="144" y="437"/>
                </a:lnTo>
                <a:lnTo>
                  <a:pt x="144" y="433"/>
                </a:lnTo>
                <a:lnTo>
                  <a:pt x="145" y="430"/>
                </a:lnTo>
                <a:lnTo>
                  <a:pt x="145" y="425"/>
                </a:lnTo>
                <a:lnTo>
                  <a:pt x="146" y="421"/>
                </a:lnTo>
                <a:lnTo>
                  <a:pt x="147" y="416"/>
                </a:lnTo>
                <a:lnTo>
                  <a:pt x="148" y="413"/>
                </a:lnTo>
                <a:lnTo>
                  <a:pt x="149" y="408"/>
                </a:lnTo>
                <a:lnTo>
                  <a:pt x="151" y="403"/>
                </a:lnTo>
                <a:lnTo>
                  <a:pt x="152" y="398"/>
                </a:lnTo>
                <a:lnTo>
                  <a:pt x="153" y="395"/>
                </a:lnTo>
                <a:lnTo>
                  <a:pt x="154" y="390"/>
                </a:lnTo>
                <a:lnTo>
                  <a:pt x="155" y="385"/>
                </a:lnTo>
                <a:lnTo>
                  <a:pt x="157" y="381"/>
                </a:lnTo>
                <a:lnTo>
                  <a:pt x="158" y="376"/>
                </a:lnTo>
                <a:lnTo>
                  <a:pt x="160" y="371"/>
                </a:lnTo>
                <a:lnTo>
                  <a:pt x="161" y="366"/>
                </a:lnTo>
                <a:lnTo>
                  <a:pt x="164" y="361"/>
                </a:lnTo>
                <a:lnTo>
                  <a:pt x="166" y="357"/>
                </a:lnTo>
                <a:lnTo>
                  <a:pt x="167" y="352"/>
                </a:lnTo>
                <a:lnTo>
                  <a:pt x="170" y="347"/>
                </a:lnTo>
                <a:lnTo>
                  <a:pt x="172" y="341"/>
                </a:lnTo>
                <a:lnTo>
                  <a:pt x="175" y="336"/>
                </a:lnTo>
                <a:lnTo>
                  <a:pt x="177" y="331"/>
                </a:lnTo>
                <a:lnTo>
                  <a:pt x="179" y="327"/>
                </a:lnTo>
                <a:lnTo>
                  <a:pt x="182" y="322"/>
                </a:lnTo>
                <a:lnTo>
                  <a:pt x="185" y="317"/>
                </a:lnTo>
                <a:lnTo>
                  <a:pt x="188" y="312"/>
                </a:lnTo>
                <a:lnTo>
                  <a:pt x="190" y="308"/>
                </a:lnTo>
                <a:lnTo>
                  <a:pt x="193" y="302"/>
                </a:lnTo>
                <a:lnTo>
                  <a:pt x="196" y="298"/>
                </a:lnTo>
                <a:lnTo>
                  <a:pt x="200" y="292"/>
                </a:lnTo>
                <a:lnTo>
                  <a:pt x="202" y="287"/>
                </a:lnTo>
                <a:lnTo>
                  <a:pt x="206" y="284"/>
                </a:lnTo>
                <a:lnTo>
                  <a:pt x="211" y="279"/>
                </a:lnTo>
                <a:lnTo>
                  <a:pt x="214" y="274"/>
                </a:lnTo>
                <a:lnTo>
                  <a:pt x="217" y="269"/>
                </a:lnTo>
                <a:lnTo>
                  <a:pt x="221" y="264"/>
                </a:lnTo>
                <a:lnTo>
                  <a:pt x="226" y="261"/>
                </a:lnTo>
                <a:lnTo>
                  <a:pt x="230" y="256"/>
                </a:lnTo>
                <a:lnTo>
                  <a:pt x="235" y="251"/>
                </a:lnTo>
                <a:lnTo>
                  <a:pt x="238" y="248"/>
                </a:lnTo>
                <a:lnTo>
                  <a:pt x="244" y="244"/>
                </a:lnTo>
                <a:lnTo>
                  <a:pt x="244" y="242"/>
                </a:lnTo>
                <a:lnTo>
                  <a:pt x="248" y="239"/>
                </a:lnTo>
                <a:lnTo>
                  <a:pt x="249" y="237"/>
                </a:lnTo>
                <a:lnTo>
                  <a:pt x="252" y="235"/>
                </a:lnTo>
                <a:lnTo>
                  <a:pt x="255" y="231"/>
                </a:lnTo>
                <a:lnTo>
                  <a:pt x="260" y="227"/>
                </a:lnTo>
                <a:lnTo>
                  <a:pt x="262" y="224"/>
                </a:lnTo>
                <a:lnTo>
                  <a:pt x="268" y="219"/>
                </a:lnTo>
                <a:lnTo>
                  <a:pt x="273" y="215"/>
                </a:lnTo>
                <a:lnTo>
                  <a:pt x="279" y="212"/>
                </a:lnTo>
                <a:lnTo>
                  <a:pt x="281" y="208"/>
                </a:lnTo>
                <a:lnTo>
                  <a:pt x="285" y="206"/>
                </a:lnTo>
                <a:lnTo>
                  <a:pt x="287" y="203"/>
                </a:lnTo>
                <a:lnTo>
                  <a:pt x="292" y="201"/>
                </a:lnTo>
                <a:lnTo>
                  <a:pt x="296" y="199"/>
                </a:lnTo>
                <a:lnTo>
                  <a:pt x="298" y="197"/>
                </a:lnTo>
                <a:lnTo>
                  <a:pt x="303" y="194"/>
                </a:lnTo>
                <a:lnTo>
                  <a:pt x="308" y="193"/>
                </a:lnTo>
                <a:lnTo>
                  <a:pt x="310" y="189"/>
                </a:lnTo>
                <a:lnTo>
                  <a:pt x="315" y="188"/>
                </a:lnTo>
                <a:lnTo>
                  <a:pt x="318" y="184"/>
                </a:lnTo>
                <a:lnTo>
                  <a:pt x="323" y="182"/>
                </a:lnTo>
                <a:lnTo>
                  <a:pt x="328" y="179"/>
                </a:lnTo>
                <a:lnTo>
                  <a:pt x="333" y="177"/>
                </a:lnTo>
                <a:lnTo>
                  <a:pt x="338" y="175"/>
                </a:lnTo>
                <a:lnTo>
                  <a:pt x="342" y="174"/>
                </a:lnTo>
                <a:lnTo>
                  <a:pt x="347" y="170"/>
                </a:lnTo>
                <a:lnTo>
                  <a:pt x="352" y="168"/>
                </a:lnTo>
                <a:lnTo>
                  <a:pt x="358" y="165"/>
                </a:lnTo>
                <a:lnTo>
                  <a:pt x="363" y="164"/>
                </a:lnTo>
                <a:lnTo>
                  <a:pt x="369" y="162"/>
                </a:lnTo>
                <a:lnTo>
                  <a:pt x="375" y="160"/>
                </a:lnTo>
                <a:lnTo>
                  <a:pt x="381" y="158"/>
                </a:lnTo>
                <a:lnTo>
                  <a:pt x="387" y="157"/>
                </a:lnTo>
                <a:lnTo>
                  <a:pt x="393" y="154"/>
                </a:lnTo>
                <a:lnTo>
                  <a:pt x="399" y="152"/>
                </a:lnTo>
                <a:lnTo>
                  <a:pt x="405" y="151"/>
                </a:lnTo>
                <a:lnTo>
                  <a:pt x="412" y="150"/>
                </a:lnTo>
                <a:lnTo>
                  <a:pt x="418" y="147"/>
                </a:lnTo>
                <a:lnTo>
                  <a:pt x="425" y="146"/>
                </a:lnTo>
                <a:lnTo>
                  <a:pt x="431" y="145"/>
                </a:lnTo>
                <a:lnTo>
                  <a:pt x="439" y="144"/>
                </a:lnTo>
                <a:lnTo>
                  <a:pt x="445" y="142"/>
                </a:lnTo>
                <a:lnTo>
                  <a:pt x="453" y="141"/>
                </a:lnTo>
                <a:lnTo>
                  <a:pt x="460" y="140"/>
                </a:lnTo>
                <a:lnTo>
                  <a:pt x="468" y="140"/>
                </a:lnTo>
                <a:lnTo>
                  <a:pt x="475" y="139"/>
                </a:lnTo>
                <a:lnTo>
                  <a:pt x="484" y="139"/>
                </a:lnTo>
                <a:lnTo>
                  <a:pt x="491" y="139"/>
                </a:lnTo>
                <a:lnTo>
                  <a:pt x="500" y="139"/>
                </a:lnTo>
                <a:close/>
              </a:path>
            </a:pathLst>
          </a:custGeom>
          <a:solidFill>
            <a:srgbClr val="EAEAEA"/>
          </a:solidFill>
          <a:ln w="9525">
            <a:noFill/>
            <a:round/>
            <a:headEnd/>
            <a:tailEnd/>
          </a:ln>
        </p:spPr>
        <p:txBody>
          <a:bodyPr/>
          <a:lstStyle/>
          <a:p>
            <a:endParaRPr lang="en-US"/>
          </a:p>
        </p:txBody>
      </p:sp>
      <p:sp>
        <p:nvSpPr>
          <p:cNvPr id="39952" name="Oval 26"/>
          <p:cNvSpPr>
            <a:spLocks noChangeArrowheads="1"/>
          </p:cNvSpPr>
          <p:nvPr/>
        </p:nvSpPr>
        <p:spPr bwMode="gray">
          <a:xfrm>
            <a:off x="1619250" y="3175000"/>
            <a:ext cx="1595438" cy="1571625"/>
          </a:xfrm>
          <a:prstGeom prst="ellipse">
            <a:avLst/>
          </a:prstGeom>
          <a:solidFill>
            <a:srgbClr val="EAEAEA"/>
          </a:solidFill>
          <a:ln w="28575">
            <a:solidFill>
              <a:srgbClr val="DDDDDD"/>
            </a:solidFill>
            <a:round/>
            <a:headEnd/>
            <a:tailEnd/>
          </a:ln>
        </p:spPr>
        <p:txBody>
          <a:bodyPr/>
          <a:lstStyle/>
          <a:p>
            <a:endParaRPr lang="en-US"/>
          </a:p>
        </p:txBody>
      </p:sp>
      <p:sp>
        <p:nvSpPr>
          <p:cNvPr id="39953" name="Oval 27"/>
          <p:cNvSpPr>
            <a:spLocks noChangeArrowheads="1"/>
          </p:cNvSpPr>
          <p:nvPr/>
        </p:nvSpPr>
        <p:spPr bwMode="gray">
          <a:xfrm flipV="1">
            <a:off x="2306638" y="3852863"/>
            <a:ext cx="222250" cy="219075"/>
          </a:xfrm>
          <a:prstGeom prst="ellipse">
            <a:avLst/>
          </a:prstGeom>
          <a:solidFill>
            <a:srgbClr val="DDDDDD"/>
          </a:solidFill>
          <a:ln w="28575">
            <a:solidFill>
              <a:srgbClr val="DDDDDD"/>
            </a:solidFill>
            <a:round/>
            <a:headEnd/>
            <a:tailEnd/>
          </a:ln>
        </p:spPr>
        <p:txBody>
          <a:bodyPr/>
          <a:lstStyle/>
          <a:p>
            <a:endParaRPr lang="en-US"/>
          </a:p>
        </p:txBody>
      </p:sp>
      <p:sp>
        <p:nvSpPr>
          <p:cNvPr id="39954" name="Freeform 30"/>
          <p:cNvSpPr>
            <a:spLocks noChangeAspect="1"/>
          </p:cNvSpPr>
          <p:nvPr/>
        </p:nvSpPr>
        <p:spPr bwMode="gray">
          <a:xfrm>
            <a:off x="4310063" y="4875213"/>
            <a:ext cx="1066800" cy="1944687"/>
          </a:xfrm>
          <a:custGeom>
            <a:avLst/>
            <a:gdLst>
              <a:gd name="T0" fmla="*/ 381866 w 528"/>
              <a:gd name="T1" fmla="*/ 1770038 h 991"/>
              <a:gd name="T2" fmla="*/ 876877 w 528"/>
              <a:gd name="T3" fmla="*/ 1550255 h 991"/>
              <a:gd name="T4" fmla="*/ 1066800 w 528"/>
              <a:gd name="T5" fmla="*/ 1073405 h 991"/>
              <a:gd name="T6" fmla="*/ 1066800 w 528"/>
              <a:gd name="T7" fmla="*/ 1040045 h 991"/>
              <a:gd name="T8" fmla="*/ 1066800 w 528"/>
              <a:gd name="T9" fmla="*/ 1012572 h 991"/>
              <a:gd name="T10" fmla="*/ 1066800 w 528"/>
              <a:gd name="T11" fmla="*/ 967438 h 991"/>
              <a:gd name="T12" fmla="*/ 1066800 w 528"/>
              <a:gd name="T13" fmla="*/ 939965 h 991"/>
              <a:gd name="T14" fmla="*/ 1066800 w 528"/>
              <a:gd name="T15" fmla="*/ 885019 h 991"/>
              <a:gd name="T16" fmla="*/ 753629 w 528"/>
              <a:gd name="T17" fmla="*/ 423867 h 991"/>
              <a:gd name="T18" fmla="*/ 198005 w 528"/>
              <a:gd name="T19" fmla="*/ 121666 h 991"/>
              <a:gd name="T20" fmla="*/ 70716 w 528"/>
              <a:gd name="T21" fmla="*/ 270804 h 991"/>
              <a:gd name="T22" fmla="*/ 107084 w 528"/>
              <a:gd name="T23" fmla="*/ 270804 h 991"/>
              <a:gd name="T24" fmla="*/ 145473 w 528"/>
              <a:gd name="T25" fmla="*/ 274729 h 991"/>
              <a:gd name="T26" fmla="*/ 183861 w 528"/>
              <a:gd name="T27" fmla="*/ 280616 h 991"/>
              <a:gd name="T28" fmla="*/ 230332 w 528"/>
              <a:gd name="T29" fmla="*/ 292390 h 991"/>
              <a:gd name="T30" fmla="*/ 278823 w 528"/>
              <a:gd name="T31" fmla="*/ 304164 h 991"/>
              <a:gd name="T32" fmla="*/ 331355 w 528"/>
              <a:gd name="T33" fmla="*/ 319863 h 991"/>
              <a:gd name="T34" fmla="*/ 381866 w 528"/>
              <a:gd name="T35" fmla="*/ 341449 h 991"/>
              <a:gd name="T36" fmla="*/ 438439 w 528"/>
              <a:gd name="T37" fmla="*/ 368921 h 991"/>
              <a:gd name="T38" fmla="*/ 488950 w 528"/>
              <a:gd name="T39" fmla="*/ 402281 h 991"/>
              <a:gd name="T40" fmla="*/ 537441 w 528"/>
              <a:gd name="T41" fmla="*/ 441528 h 991"/>
              <a:gd name="T42" fmla="*/ 583911 w 528"/>
              <a:gd name="T43" fmla="*/ 486662 h 991"/>
              <a:gd name="T44" fmla="*/ 622300 w 528"/>
              <a:gd name="T45" fmla="*/ 521985 h 991"/>
              <a:gd name="T46" fmla="*/ 652607 w 528"/>
              <a:gd name="T47" fmla="*/ 559269 h 991"/>
              <a:gd name="T48" fmla="*/ 682914 w 528"/>
              <a:gd name="T49" fmla="*/ 598516 h 991"/>
              <a:gd name="T50" fmla="*/ 705139 w 528"/>
              <a:gd name="T51" fmla="*/ 639726 h 991"/>
              <a:gd name="T52" fmla="*/ 725343 w 528"/>
              <a:gd name="T53" fmla="*/ 680935 h 991"/>
              <a:gd name="T54" fmla="*/ 745548 w 528"/>
              <a:gd name="T55" fmla="*/ 726069 h 991"/>
              <a:gd name="T56" fmla="*/ 757670 w 528"/>
              <a:gd name="T57" fmla="*/ 765316 h 991"/>
              <a:gd name="T58" fmla="*/ 769793 w 528"/>
              <a:gd name="T59" fmla="*/ 808487 h 991"/>
              <a:gd name="T60" fmla="*/ 779895 w 528"/>
              <a:gd name="T61" fmla="*/ 847734 h 991"/>
              <a:gd name="T62" fmla="*/ 783936 w 528"/>
              <a:gd name="T63" fmla="*/ 885019 h 991"/>
              <a:gd name="T64" fmla="*/ 789998 w 528"/>
              <a:gd name="T65" fmla="*/ 922304 h 991"/>
              <a:gd name="T66" fmla="*/ 792018 w 528"/>
              <a:gd name="T67" fmla="*/ 957626 h 991"/>
              <a:gd name="T68" fmla="*/ 794039 w 528"/>
              <a:gd name="T69" fmla="*/ 989023 h 991"/>
              <a:gd name="T70" fmla="*/ 789998 w 528"/>
              <a:gd name="T71" fmla="*/ 1032195 h 991"/>
              <a:gd name="T72" fmla="*/ 783936 w 528"/>
              <a:gd name="T73" fmla="*/ 1063593 h 991"/>
              <a:gd name="T74" fmla="*/ 777875 w 528"/>
              <a:gd name="T75" fmla="*/ 1098915 h 991"/>
              <a:gd name="T76" fmla="*/ 767773 w 528"/>
              <a:gd name="T77" fmla="*/ 1142087 h 991"/>
              <a:gd name="T78" fmla="*/ 755650 w 528"/>
              <a:gd name="T79" fmla="*/ 1183296 h 991"/>
              <a:gd name="T80" fmla="*/ 737466 w 528"/>
              <a:gd name="T81" fmla="*/ 1230392 h 991"/>
              <a:gd name="T82" fmla="*/ 717261 w 528"/>
              <a:gd name="T83" fmla="*/ 1275526 h 991"/>
              <a:gd name="T84" fmla="*/ 695036 w 528"/>
              <a:gd name="T85" fmla="*/ 1324585 h 991"/>
              <a:gd name="T86" fmla="*/ 662709 w 528"/>
              <a:gd name="T87" fmla="*/ 1369719 h 991"/>
              <a:gd name="T88" fmla="*/ 630382 w 528"/>
              <a:gd name="T89" fmla="*/ 1414853 h 991"/>
              <a:gd name="T90" fmla="*/ 587952 w 528"/>
              <a:gd name="T91" fmla="*/ 1456062 h 991"/>
              <a:gd name="T92" fmla="*/ 561686 w 528"/>
              <a:gd name="T93" fmla="*/ 1481573 h 991"/>
              <a:gd name="T94" fmla="*/ 515216 w 528"/>
              <a:gd name="T95" fmla="*/ 1516895 h 991"/>
              <a:gd name="T96" fmla="*/ 478848 w 528"/>
              <a:gd name="T97" fmla="*/ 1546330 h 991"/>
              <a:gd name="T98" fmla="*/ 440459 w 528"/>
              <a:gd name="T99" fmla="*/ 1569879 h 991"/>
              <a:gd name="T100" fmla="*/ 398029 w 528"/>
              <a:gd name="T101" fmla="*/ 1593427 h 991"/>
              <a:gd name="T102" fmla="*/ 345498 w 528"/>
              <a:gd name="T103" fmla="*/ 1615013 h 991"/>
              <a:gd name="T104" fmla="*/ 290945 w 528"/>
              <a:gd name="T105" fmla="*/ 1636598 h 991"/>
              <a:gd name="T106" fmla="*/ 224270 w 528"/>
              <a:gd name="T107" fmla="*/ 1650335 h 991"/>
              <a:gd name="T108" fmla="*/ 155575 w 528"/>
              <a:gd name="T109" fmla="*/ 1666034 h 991"/>
              <a:gd name="T110" fmla="*/ 80818 w 528"/>
              <a:gd name="T111" fmla="*/ 1671921 h 99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8"/>
              <a:gd name="T169" fmla="*/ 0 h 991"/>
              <a:gd name="T170" fmla="*/ 528 w 528"/>
              <a:gd name="T171" fmla="*/ 991 h 99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8" h="991">
                <a:moveTo>
                  <a:pt x="32" y="852"/>
                </a:moveTo>
                <a:lnTo>
                  <a:pt x="35" y="991"/>
                </a:lnTo>
                <a:lnTo>
                  <a:pt x="79" y="990"/>
                </a:lnTo>
                <a:lnTo>
                  <a:pt x="97" y="929"/>
                </a:lnTo>
                <a:lnTo>
                  <a:pt x="189" y="902"/>
                </a:lnTo>
                <a:lnTo>
                  <a:pt x="250" y="944"/>
                </a:lnTo>
                <a:lnTo>
                  <a:pt x="318" y="904"/>
                </a:lnTo>
                <a:lnTo>
                  <a:pt x="315" y="833"/>
                </a:lnTo>
                <a:lnTo>
                  <a:pt x="365" y="780"/>
                </a:lnTo>
                <a:lnTo>
                  <a:pt x="434" y="790"/>
                </a:lnTo>
                <a:lnTo>
                  <a:pt x="482" y="715"/>
                </a:lnTo>
                <a:lnTo>
                  <a:pt x="441" y="656"/>
                </a:lnTo>
                <a:lnTo>
                  <a:pt x="468" y="560"/>
                </a:lnTo>
                <a:lnTo>
                  <a:pt x="528" y="551"/>
                </a:lnTo>
                <a:lnTo>
                  <a:pt x="528" y="547"/>
                </a:lnTo>
                <a:lnTo>
                  <a:pt x="528" y="543"/>
                </a:lnTo>
                <a:lnTo>
                  <a:pt x="528" y="541"/>
                </a:lnTo>
                <a:lnTo>
                  <a:pt x="528" y="537"/>
                </a:lnTo>
                <a:lnTo>
                  <a:pt x="528" y="534"/>
                </a:lnTo>
                <a:lnTo>
                  <a:pt x="528" y="530"/>
                </a:lnTo>
                <a:lnTo>
                  <a:pt x="528" y="528"/>
                </a:lnTo>
                <a:lnTo>
                  <a:pt x="528" y="526"/>
                </a:lnTo>
                <a:lnTo>
                  <a:pt x="528" y="522"/>
                </a:lnTo>
                <a:lnTo>
                  <a:pt x="528" y="518"/>
                </a:lnTo>
                <a:lnTo>
                  <a:pt x="528" y="516"/>
                </a:lnTo>
                <a:lnTo>
                  <a:pt x="528" y="512"/>
                </a:lnTo>
                <a:lnTo>
                  <a:pt x="528" y="506"/>
                </a:lnTo>
                <a:lnTo>
                  <a:pt x="528" y="500"/>
                </a:lnTo>
                <a:lnTo>
                  <a:pt x="528" y="497"/>
                </a:lnTo>
                <a:lnTo>
                  <a:pt x="528" y="493"/>
                </a:lnTo>
                <a:lnTo>
                  <a:pt x="528" y="491"/>
                </a:lnTo>
                <a:lnTo>
                  <a:pt x="528" y="488"/>
                </a:lnTo>
                <a:lnTo>
                  <a:pt x="528" y="485"/>
                </a:lnTo>
                <a:lnTo>
                  <a:pt x="528" y="481"/>
                </a:lnTo>
                <a:lnTo>
                  <a:pt x="528" y="479"/>
                </a:lnTo>
                <a:lnTo>
                  <a:pt x="528" y="475"/>
                </a:lnTo>
                <a:lnTo>
                  <a:pt x="528" y="469"/>
                </a:lnTo>
                <a:lnTo>
                  <a:pt x="528" y="463"/>
                </a:lnTo>
                <a:lnTo>
                  <a:pt x="528" y="457"/>
                </a:lnTo>
                <a:lnTo>
                  <a:pt x="528" y="451"/>
                </a:lnTo>
                <a:lnTo>
                  <a:pt x="467" y="433"/>
                </a:lnTo>
                <a:lnTo>
                  <a:pt x="441" y="341"/>
                </a:lnTo>
                <a:lnTo>
                  <a:pt x="483" y="280"/>
                </a:lnTo>
                <a:lnTo>
                  <a:pt x="443" y="212"/>
                </a:lnTo>
                <a:lnTo>
                  <a:pt x="373" y="216"/>
                </a:lnTo>
                <a:lnTo>
                  <a:pt x="320" y="165"/>
                </a:lnTo>
                <a:lnTo>
                  <a:pt x="328" y="96"/>
                </a:lnTo>
                <a:lnTo>
                  <a:pt x="253" y="48"/>
                </a:lnTo>
                <a:lnTo>
                  <a:pt x="195" y="90"/>
                </a:lnTo>
                <a:lnTo>
                  <a:pt x="98" y="62"/>
                </a:lnTo>
                <a:lnTo>
                  <a:pt x="89" y="3"/>
                </a:lnTo>
                <a:lnTo>
                  <a:pt x="31" y="0"/>
                </a:lnTo>
                <a:lnTo>
                  <a:pt x="0" y="64"/>
                </a:lnTo>
                <a:lnTo>
                  <a:pt x="34" y="138"/>
                </a:lnTo>
                <a:lnTo>
                  <a:pt x="35" y="138"/>
                </a:lnTo>
                <a:lnTo>
                  <a:pt x="37" y="138"/>
                </a:lnTo>
                <a:lnTo>
                  <a:pt x="40" y="138"/>
                </a:lnTo>
                <a:lnTo>
                  <a:pt x="43" y="138"/>
                </a:lnTo>
                <a:lnTo>
                  <a:pt x="48" y="138"/>
                </a:lnTo>
                <a:lnTo>
                  <a:pt x="53" y="138"/>
                </a:lnTo>
                <a:lnTo>
                  <a:pt x="59" y="139"/>
                </a:lnTo>
                <a:lnTo>
                  <a:pt x="62" y="139"/>
                </a:lnTo>
                <a:lnTo>
                  <a:pt x="65" y="139"/>
                </a:lnTo>
                <a:lnTo>
                  <a:pt x="68" y="139"/>
                </a:lnTo>
                <a:lnTo>
                  <a:pt x="72" y="140"/>
                </a:lnTo>
                <a:lnTo>
                  <a:pt x="76" y="140"/>
                </a:lnTo>
                <a:lnTo>
                  <a:pt x="79" y="141"/>
                </a:lnTo>
                <a:lnTo>
                  <a:pt x="84" y="141"/>
                </a:lnTo>
                <a:lnTo>
                  <a:pt x="88" y="143"/>
                </a:lnTo>
                <a:lnTo>
                  <a:pt x="91" y="143"/>
                </a:lnTo>
                <a:lnTo>
                  <a:pt x="96" y="144"/>
                </a:lnTo>
                <a:lnTo>
                  <a:pt x="100" y="145"/>
                </a:lnTo>
                <a:lnTo>
                  <a:pt x="106" y="146"/>
                </a:lnTo>
                <a:lnTo>
                  <a:pt x="109" y="147"/>
                </a:lnTo>
                <a:lnTo>
                  <a:pt x="114" y="149"/>
                </a:lnTo>
                <a:lnTo>
                  <a:pt x="119" y="150"/>
                </a:lnTo>
                <a:lnTo>
                  <a:pt x="123" y="151"/>
                </a:lnTo>
                <a:lnTo>
                  <a:pt x="128" y="151"/>
                </a:lnTo>
                <a:lnTo>
                  <a:pt x="133" y="152"/>
                </a:lnTo>
                <a:lnTo>
                  <a:pt x="138" y="155"/>
                </a:lnTo>
                <a:lnTo>
                  <a:pt x="144" y="156"/>
                </a:lnTo>
                <a:lnTo>
                  <a:pt x="149" y="157"/>
                </a:lnTo>
                <a:lnTo>
                  <a:pt x="153" y="159"/>
                </a:lnTo>
                <a:lnTo>
                  <a:pt x="158" y="161"/>
                </a:lnTo>
                <a:lnTo>
                  <a:pt x="164" y="163"/>
                </a:lnTo>
                <a:lnTo>
                  <a:pt x="169" y="164"/>
                </a:lnTo>
                <a:lnTo>
                  <a:pt x="174" y="167"/>
                </a:lnTo>
                <a:lnTo>
                  <a:pt x="180" y="169"/>
                </a:lnTo>
                <a:lnTo>
                  <a:pt x="185" y="171"/>
                </a:lnTo>
                <a:lnTo>
                  <a:pt x="189" y="174"/>
                </a:lnTo>
                <a:lnTo>
                  <a:pt x="195" y="176"/>
                </a:lnTo>
                <a:lnTo>
                  <a:pt x="200" y="178"/>
                </a:lnTo>
                <a:lnTo>
                  <a:pt x="206" y="182"/>
                </a:lnTo>
                <a:lnTo>
                  <a:pt x="211" y="184"/>
                </a:lnTo>
                <a:lnTo>
                  <a:pt x="217" y="188"/>
                </a:lnTo>
                <a:lnTo>
                  <a:pt x="222" y="190"/>
                </a:lnTo>
                <a:lnTo>
                  <a:pt x="226" y="194"/>
                </a:lnTo>
                <a:lnTo>
                  <a:pt x="231" y="198"/>
                </a:lnTo>
                <a:lnTo>
                  <a:pt x="237" y="200"/>
                </a:lnTo>
                <a:lnTo>
                  <a:pt x="242" y="205"/>
                </a:lnTo>
                <a:lnTo>
                  <a:pt x="247" y="208"/>
                </a:lnTo>
                <a:lnTo>
                  <a:pt x="252" y="212"/>
                </a:lnTo>
                <a:lnTo>
                  <a:pt x="256" y="216"/>
                </a:lnTo>
                <a:lnTo>
                  <a:pt x="261" y="220"/>
                </a:lnTo>
                <a:lnTo>
                  <a:pt x="266" y="225"/>
                </a:lnTo>
                <a:lnTo>
                  <a:pt x="271" y="229"/>
                </a:lnTo>
                <a:lnTo>
                  <a:pt x="276" y="234"/>
                </a:lnTo>
                <a:lnTo>
                  <a:pt x="280" y="238"/>
                </a:lnTo>
                <a:lnTo>
                  <a:pt x="285" y="244"/>
                </a:lnTo>
                <a:lnTo>
                  <a:pt x="289" y="248"/>
                </a:lnTo>
                <a:lnTo>
                  <a:pt x="292" y="250"/>
                </a:lnTo>
                <a:lnTo>
                  <a:pt x="297" y="254"/>
                </a:lnTo>
                <a:lnTo>
                  <a:pt x="301" y="259"/>
                </a:lnTo>
                <a:lnTo>
                  <a:pt x="304" y="261"/>
                </a:lnTo>
                <a:lnTo>
                  <a:pt x="308" y="266"/>
                </a:lnTo>
                <a:lnTo>
                  <a:pt x="312" y="269"/>
                </a:lnTo>
                <a:lnTo>
                  <a:pt x="315" y="273"/>
                </a:lnTo>
                <a:lnTo>
                  <a:pt x="318" y="277"/>
                </a:lnTo>
                <a:lnTo>
                  <a:pt x="320" y="281"/>
                </a:lnTo>
                <a:lnTo>
                  <a:pt x="323" y="285"/>
                </a:lnTo>
                <a:lnTo>
                  <a:pt x="327" y="289"/>
                </a:lnTo>
                <a:lnTo>
                  <a:pt x="329" y="293"/>
                </a:lnTo>
                <a:lnTo>
                  <a:pt x="332" y="297"/>
                </a:lnTo>
                <a:lnTo>
                  <a:pt x="335" y="301"/>
                </a:lnTo>
                <a:lnTo>
                  <a:pt x="338" y="305"/>
                </a:lnTo>
                <a:lnTo>
                  <a:pt x="340" y="309"/>
                </a:lnTo>
                <a:lnTo>
                  <a:pt x="343" y="314"/>
                </a:lnTo>
                <a:lnTo>
                  <a:pt x="345" y="317"/>
                </a:lnTo>
                <a:lnTo>
                  <a:pt x="347" y="322"/>
                </a:lnTo>
                <a:lnTo>
                  <a:pt x="349" y="326"/>
                </a:lnTo>
                <a:lnTo>
                  <a:pt x="351" y="330"/>
                </a:lnTo>
                <a:lnTo>
                  <a:pt x="353" y="334"/>
                </a:lnTo>
                <a:lnTo>
                  <a:pt x="356" y="339"/>
                </a:lnTo>
                <a:lnTo>
                  <a:pt x="358" y="344"/>
                </a:lnTo>
                <a:lnTo>
                  <a:pt x="359" y="347"/>
                </a:lnTo>
                <a:lnTo>
                  <a:pt x="362" y="352"/>
                </a:lnTo>
                <a:lnTo>
                  <a:pt x="363" y="357"/>
                </a:lnTo>
                <a:lnTo>
                  <a:pt x="365" y="360"/>
                </a:lnTo>
                <a:lnTo>
                  <a:pt x="367" y="365"/>
                </a:lnTo>
                <a:lnTo>
                  <a:pt x="369" y="370"/>
                </a:lnTo>
                <a:lnTo>
                  <a:pt x="370" y="374"/>
                </a:lnTo>
                <a:lnTo>
                  <a:pt x="371" y="378"/>
                </a:lnTo>
                <a:lnTo>
                  <a:pt x="373" y="382"/>
                </a:lnTo>
                <a:lnTo>
                  <a:pt x="374" y="386"/>
                </a:lnTo>
                <a:lnTo>
                  <a:pt x="375" y="390"/>
                </a:lnTo>
                <a:lnTo>
                  <a:pt x="376" y="395"/>
                </a:lnTo>
                <a:lnTo>
                  <a:pt x="377" y="399"/>
                </a:lnTo>
                <a:lnTo>
                  <a:pt x="379" y="403"/>
                </a:lnTo>
                <a:lnTo>
                  <a:pt x="380" y="408"/>
                </a:lnTo>
                <a:lnTo>
                  <a:pt x="381" y="412"/>
                </a:lnTo>
                <a:lnTo>
                  <a:pt x="382" y="415"/>
                </a:lnTo>
                <a:lnTo>
                  <a:pt x="382" y="420"/>
                </a:lnTo>
                <a:lnTo>
                  <a:pt x="383" y="424"/>
                </a:lnTo>
                <a:lnTo>
                  <a:pt x="385" y="429"/>
                </a:lnTo>
                <a:lnTo>
                  <a:pt x="386" y="432"/>
                </a:lnTo>
                <a:lnTo>
                  <a:pt x="386" y="436"/>
                </a:lnTo>
                <a:lnTo>
                  <a:pt x="387" y="441"/>
                </a:lnTo>
                <a:lnTo>
                  <a:pt x="387" y="444"/>
                </a:lnTo>
                <a:lnTo>
                  <a:pt x="387" y="448"/>
                </a:lnTo>
                <a:lnTo>
                  <a:pt x="388" y="451"/>
                </a:lnTo>
                <a:lnTo>
                  <a:pt x="388" y="456"/>
                </a:lnTo>
                <a:lnTo>
                  <a:pt x="389" y="459"/>
                </a:lnTo>
                <a:lnTo>
                  <a:pt x="389" y="463"/>
                </a:lnTo>
                <a:lnTo>
                  <a:pt x="391" y="467"/>
                </a:lnTo>
                <a:lnTo>
                  <a:pt x="391" y="470"/>
                </a:lnTo>
                <a:lnTo>
                  <a:pt x="391" y="474"/>
                </a:lnTo>
                <a:lnTo>
                  <a:pt x="392" y="478"/>
                </a:lnTo>
                <a:lnTo>
                  <a:pt x="392" y="481"/>
                </a:lnTo>
                <a:lnTo>
                  <a:pt x="392" y="485"/>
                </a:lnTo>
                <a:lnTo>
                  <a:pt x="392" y="488"/>
                </a:lnTo>
                <a:lnTo>
                  <a:pt x="393" y="492"/>
                </a:lnTo>
                <a:lnTo>
                  <a:pt x="393" y="496"/>
                </a:lnTo>
                <a:lnTo>
                  <a:pt x="394" y="499"/>
                </a:lnTo>
                <a:lnTo>
                  <a:pt x="393" y="500"/>
                </a:lnTo>
                <a:lnTo>
                  <a:pt x="393" y="504"/>
                </a:lnTo>
                <a:lnTo>
                  <a:pt x="393" y="508"/>
                </a:lnTo>
                <a:lnTo>
                  <a:pt x="393" y="512"/>
                </a:lnTo>
                <a:lnTo>
                  <a:pt x="392" y="517"/>
                </a:lnTo>
                <a:lnTo>
                  <a:pt x="391" y="523"/>
                </a:lnTo>
                <a:lnTo>
                  <a:pt x="391" y="526"/>
                </a:lnTo>
                <a:lnTo>
                  <a:pt x="391" y="529"/>
                </a:lnTo>
                <a:lnTo>
                  <a:pt x="389" y="532"/>
                </a:lnTo>
                <a:lnTo>
                  <a:pt x="389" y="535"/>
                </a:lnTo>
                <a:lnTo>
                  <a:pt x="388" y="539"/>
                </a:lnTo>
                <a:lnTo>
                  <a:pt x="388" y="542"/>
                </a:lnTo>
                <a:lnTo>
                  <a:pt x="387" y="545"/>
                </a:lnTo>
                <a:lnTo>
                  <a:pt x="387" y="549"/>
                </a:lnTo>
                <a:lnTo>
                  <a:pt x="386" y="553"/>
                </a:lnTo>
                <a:lnTo>
                  <a:pt x="386" y="557"/>
                </a:lnTo>
                <a:lnTo>
                  <a:pt x="385" y="560"/>
                </a:lnTo>
                <a:lnTo>
                  <a:pt x="385" y="565"/>
                </a:lnTo>
                <a:lnTo>
                  <a:pt x="383" y="569"/>
                </a:lnTo>
                <a:lnTo>
                  <a:pt x="382" y="573"/>
                </a:lnTo>
                <a:lnTo>
                  <a:pt x="381" y="577"/>
                </a:lnTo>
                <a:lnTo>
                  <a:pt x="380" y="582"/>
                </a:lnTo>
                <a:lnTo>
                  <a:pt x="379" y="585"/>
                </a:lnTo>
                <a:lnTo>
                  <a:pt x="377" y="590"/>
                </a:lnTo>
                <a:lnTo>
                  <a:pt x="376" y="595"/>
                </a:lnTo>
                <a:lnTo>
                  <a:pt x="375" y="600"/>
                </a:lnTo>
                <a:lnTo>
                  <a:pt x="374" y="603"/>
                </a:lnTo>
                <a:lnTo>
                  <a:pt x="373" y="608"/>
                </a:lnTo>
                <a:lnTo>
                  <a:pt x="370" y="613"/>
                </a:lnTo>
                <a:lnTo>
                  <a:pt x="369" y="618"/>
                </a:lnTo>
                <a:lnTo>
                  <a:pt x="367" y="622"/>
                </a:lnTo>
                <a:lnTo>
                  <a:pt x="365" y="627"/>
                </a:lnTo>
                <a:lnTo>
                  <a:pt x="363" y="631"/>
                </a:lnTo>
                <a:lnTo>
                  <a:pt x="362" y="637"/>
                </a:lnTo>
                <a:lnTo>
                  <a:pt x="359" y="642"/>
                </a:lnTo>
                <a:lnTo>
                  <a:pt x="357" y="645"/>
                </a:lnTo>
                <a:lnTo>
                  <a:pt x="355" y="650"/>
                </a:lnTo>
                <a:lnTo>
                  <a:pt x="353" y="655"/>
                </a:lnTo>
                <a:lnTo>
                  <a:pt x="351" y="660"/>
                </a:lnTo>
                <a:lnTo>
                  <a:pt x="349" y="664"/>
                </a:lnTo>
                <a:lnTo>
                  <a:pt x="346" y="669"/>
                </a:lnTo>
                <a:lnTo>
                  <a:pt x="344" y="675"/>
                </a:lnTo>
                <a:lnTo>
                  <a:pt x="340" y="679"/>
                </a:lnTo>
                <a:lnTo>
                  <a:pt x="338" y="683"/>
                </a:lnTo>
                <a:lnTo>
                  <a:pt x="334" y="688"/>
                </a:lnTo>
                <a:lnTo>
                  <a:pt x="332" y="693"/>
                </a:lnTo>
                <a:lnTo>
                  <a:pt x="328" y="698"/>
                </a:lnTo>
                <a:lnTo>
                  <a:pt x="325" y="703"/>
                </a:lnTo>
                <a:lnTo>
                  <a:pt x="321" y="706"/>
                </a:lnTo>
                <a:lnTo>
                  <a:pt x="319" y="712"/>
                </a:lnTo>
                <a:lnTo>
                  <a:pt x="315" y="716"/>
                </a:lnTo>
                <a:lnTo>
                  <a:pt x="312" y="721"/>
                </a:lnTo>
                <a:lnTo>
                  <a:pt x="307" y="725"/>
                </a:lnTo>
                <a:lnTo>
                  <a:pt x="303" y="729"/>
                </a:lnTo>
                <a:lnTo>
                  <a:pt x="300" y="734"/>
                </a:lnTo>
                <a:lnTo>
                  <a:pt x="295" y="739"/>
                </a:lnTo>
                <a:lnTo>
                  <a:pt x="291" y="742"/>
                </a:lnTo>
                <a:lnTo>
                  <a:pt x="288" y="747"/>
                </a:lnTo>
                <a:lnTo>
                  <a:pt x="285" y="747"/>
                </a:lnTo>
                <a:lnTo>
                  <a:pt x="283" y="751"/>
                </a:lnTo>
                <a:lnTo>
                  <a:pt x="280" y="752"/>
                </a:lnTo>
                <a:lnTo>
                  <a:pt x="278" y="755"/>
                </a:lnTo>
                <a:lnTo>
                  <a:pt x="274" y="759"/>
                </a:lnTo>
                <a:lnTo>
                  <a:pt x="271" y="762"/>
                </a:lnTo>
                <a:lnTo>
                  <a:pt x="266" y="765"/>
                </a:lnTo>
                <a:lnTo>
                  <a:pt x="261" y="770"/>
                </a:lnTo>
                <a:lnTo>
                  <a:pt x="255" y="773"/>
                </a:lnTo>
                <a:lnTo>
                  <a:pt x="250" y="778"/>
                </a:lnTo>
                <a:lnTo>
                  <a:pt x="247" y="780"/>
                </a:lnTo>
                <a:lnTo>
                  <a:pt x="243" y="783"/>
                </a:lnTo>
                <a:lnTo>
                  <a:pt x="241" y="785"/>
                </a:lnTo>
                <a:lnTo>
                  <a:pt x="237" y="788"/>
                </a:lnTo>
                <a:lnTo>
                  <a:pt x="234" y="790"/>
                </a:lnTo>
                <a:lnTo>
                  <a:pt x="230" y="792"/>
                </a:lnTo>
                <a:lnTo>
                  <a:pt x="226" y="795"/>
                </a:lnTo>
                <a:lnTo>
                  <a:pt x="223" y="798"/>
                </a:lnTo>
                <a:lnTo>
                  <a:pt x="218" y="800"/>
                </a:lnTo>
                <a:lnTo>
                  <a:pt x="214" y="802"/>
                </a:lnTo>
                <a:lnTo>
                  <a:pt x="210" y="804"/>
                </a:lnTo>
                <a:lnTo>
                  <a:pt x="206" y="807"/>
                </a:lnTo>
                <a:lnTo>
                  <a:pt x="201" y="809"/>
                </a:lnTo>
                <a:lnTo>
                  <a:pt x="197" y="812"/>
                </a:lnTo>
                <a:lnTo>
                  <a:pt x="192" y="814"/>
                </a:lnTo>
                <a:lnTo>
                  <a:pt x="187" y="816"/>
                </a:lnTo>
                <a:lnTo>
                  <a:pt x="182" y="819"/>
                </a:lnTo>
                <a:lnTo>
                  <a:pt x="176" y="821"/>
                </a:lnTo>
                <a:lnTo>
                  <a:pt x="171" y="823"/>
                </a:lnTo>
                <a:lnTo>
                  <a:pt x="167" y="825"/>
                </a:lnTo>
                <a:lnTo>
                  <a:pt x="161" y="827"/>
                </a:lnTo>
                <a:lnTo>
                  <a:pt x="155" y="829"/>
                </a:lnTo>
                <a:lnTo>
                  <a:pt x="149" y="832"/>
                </a:lnTo>
                <a:lnTo>
                  <a:pt x="144" y="834"/>
                </a:lnTo>
                <a:lnTo>
                  <a:pt x="137" y="835"/>
                </a:lnTo>
                <a:lnTo>
                  <a:pt x="131" y="838"/>
                </a:lnTo>
                <a:lnTo>
                  <a:pt x="125" y="839"/>
                </a:lnTo>
                <a:lnTo>
                  <a:pt x="119" y="840"/>
                </a:lnTo>
                <a:lnTo>
                  <a:pt x="111" y="841"/>
                </a:lnTo>
                <a:lnTo>
                  <a:pt x="104" y="844"/>
                </a:lnTo>
                <a:lnTo>
                  <a:pt x="98" y="845"/>
                </a:lnTo>
                <a:lnTo>
                  <a:pt x="91" y="846"/>
                </a:lnTo>
                <a:lnTo>
                  <a:pt x="84" y="847"/>
                </a:lnTo>
                <a:lnTo>
                  <a:pt x="77" y="849"/>
                </a:lnTo>
                <a:lnTo>
                  <a:pt x="70" y="850"/>
                </a:lnTo>
                <a:lnTo>
                  <a:pt x="62" y="850"/>
                </a:lnTo>
                <a:lnTo>
                  <a:pt x="54" y="851"/>
                </a:lnTo>
                <a:lnTo>
                  <a:pt x="47" y="851"/>
                </a:lnTo>
                <a:lnTo>
                  <a:pt x="40" y="852"/>
                </a:lnTo>
                <a:lnTo>
                  <a:pt x="32" y="852"/>
                </a:lnTo>
                <a:close/>
              </a:path>
            </a:pathLst>
          </a:custGeom>
          <a:solidFill>
            <a:srgbClr val="EAEAEA"/>
          </a:solidFill>
          <a:ln w="9525">
            <a:noFill/>
            <a:round/>
            <a:headEnd/>
            <a:tailEnd/>
          </a:ln>
        </p:spPr>
        <p:txBody>
          <a:bodyPr/>
          <a:lstStyle/>
          <a:p>
            <a:endParaRPr lang="en-US"/>
          </a:p>
        </p:txBody>
      </p:sp>
      <p:sp>
        <p:nvSpPr>
          <p:cNvPr id="39955" name="Freeform 31"/>
          <p:cNvSpPr>
            <a:spLocks noChangeAspect="1"/>
          </p:cNvSpPr>
          <p:nvPr/>
        </p:nvSpPr>
        <p:spPr bwMode="gray">
          <a:xfrm>
            <a:off x="3381375" y="4875213"/>
            <a:ext cx="1052513" cy="1949450"/>
          </a:xfrm>
          <a:custGeom>
            <a:avLst/>
            <a:gdLst>
              <a:gd name="T0" fmla="*/ 686246 w 523"/>
              <a:gd name="T1" fmla="*/ 174900 h 992"/>
              <a:gd name="T2" fmla="*/ 193195 w 523"/>
              <a:gd name="T3" fmla="*/ 394999 h 992"/>
              <a:gd name="T4" fmla="*/ 2012 w 523"/>
              <a:gd name="T5" fmla="*/ 874501 h 992"/>
              <a:gd name="T6" fmla="*/ 0 w 523"/>
              <a:gd name="T7" fmla="*/ 931491 h 992"/>
              <a:gd name="T8" fmla="*/ 0 w 523"/>
              <a:gd name="T9" fmla="*/ 964899 h 992"/>
              <a:gd name="T10" fmla="*/ 0 w 523"/>
              <a:gd name="T11" fmla="*/ 996342 h 992"/>
              <a:gd name="T12" fmla="*/ 0 w 523"/>
              <a:gd name="T13" fmla="*/ 1029750 h 992"/>
              <a:gd name="T14" fmla="*/ 4025 w 523"/>
              <a:gd name="T15" fmla="*/ 1065123 h 992"/>
              <a:gd name="T16" fmla="*/ 317968 w 523"/>
              <a:gd name="T17" fmla="*/ 1526938 h 992"/>
              <a:gd name="T18" fmla="*/ 867367 w 523"/>
              <a:gd name="T19" fmla="*/ 1829575 h 992"/>
              <a:gd name="T20" fmla="*/ 994152 w 523"/>
              <a:gd name="T21" fmla="*/ 1676291 h 992"/>
              <a:gd name="T22" fmla="*/ 963965 w 523"/>
              <a:gd name="T23" fmla="*/ 1674326 h 992"/>
              <a:gd name="T24" fmla="*/ 923716 w 523"/>
              <a:gd name="T25" fmla="*/ 1672361 h 992"/>
              <a:gd name="T26" fmla="*/ 887492 w 523"/>
              <a:gd name="T27" fmla="*/ 1666465 h 992"/>
              <a:gd name="T28" fmla="*/ 843218 w 523"/>
              <a:gd name="T29" fmla="*/ 1654674 h 992"/>
              <a:gd name="T30" fmla="*/ 794919 w 523"/>
              <a:gd name="T31" fmla="*/ 1646814 h 992"/>
              <a:gd name="T32" fmla="*/ 742595 w 523"/>
              <a:gd name="T33" fmla="*/ 1629127 h 992"/>
              <a:gd name="T34" fmla="*/ 692284 w 523"/>
              <a:gd name="T35" fmla="*/ 1611441 h 992"/>
              <a:gd name="T36" fmla="*/ 637948 w 523"/>
              <a:gd name="T37" fmla="*/ 1585893 h 992"/>
              <a:gd name="T38" fmla="*/ 587636 w 523"/>
              <a:gd name="T39" fmla="*/ 1552485 h 992"/>
              <a:gd name="T40" fmla="*/ 537325 w 523"/>
              <a:gd name="T41" fmla="*/ 1517112 h 992"/>
              <a:gd name="T42" fmla="*/ 493051 w 523"/>
              <a:gd name="T43" fmla="*/ 1471913 h 992"/>
              <a:gd name="T44" fmla="*/ 464877 w 523"/>
              <a:gd name="T45" fmla="*/ 1446366 h 992"/>
              <a:gd name="T46" fmla="*/ 426640 w 523"/>
              <a:gd name="T47" fmla="*/ 1401167 h 992"/>
              <a:gd name="T48" fmla="*/ 402491 w 523"/>
              <a:gd name="T49" fmla="*/ 1367759 h 992"/>
              <a:gd name="T50" fmla="*/ 378341 w 523"/>
              <a:gd name="T51" fmla="*/ 1330421 h 992"/>
              <a:gd name="T52" fmla="*/ 354192 w 523"/>
              <a:gd name="T53" fmla="*/ 1283257 h 992"/>
              <a:gd name="T54" fmla="*/ 332055 w 523"/>
              <a:gd name="T55" fmla="*/ 1234128 h 992"/>
              <a:gd name="T56" fmla="*/ 309918 w 523"/>
              <a:gd name="T57" fmla="*/ 1179103 h 992"/>
              <a:gd name="T58" fmla="*/ 293818 w 523"/>
              <a:gd name="T59" fmla="*/ 1114252 h 992"/>
              <a:gd name="T60" fmla="*/ 281743 w 523"/>
              <a:gd name="T61" fmla="*/ 1043506 h 992"/>
              <a:gd name="T62" fmla="*/ 277719 w 523"/>
              <a:gd name="T63" fmla="*/ 970795 h 992"/>
              <a:gd name="T64" fmla="*/ 277719 w 523"/>
              <a:gd name="T65" fmla="*/ 935422 h 992"/>
              <a:gd name="T66" fmla="*/ 283756 w 523"/>
              <a:gd name="T67" fmla="*/ 888257 h 992"/>
              <a:gd name="T68" fmla="*/ 289793 w 523"/>
              <a:gd name="T69" fmla="*/ 850919 h 992"/>
              <a:gd name="T70" fmla="*/ 297843 w 523"/>
              <a:gd name="T71" fmla="*/ 811616 h 992"/>
              <a:gd name="T72" fmla="*/ 309918 w 523"/>
              <a:gd name="T73" fmla="*/ 766417 h 992"/>
              <a:gd name="T74" fmla="*/ 324005 w 523"/>
              <a:gd name="T75" fmla="*/ 719253 h 992"/>
              <a:gd name="T76" fmla="*/ 346142 w 523"/>
              <a:gd name="T77" fmla="*/ 670124 h 992"/>
              <a:gd name="T78" fmla="*/ 372304 w 523"/>
              <a:gd name="T79" fmla="*/ 622959 h 992"/>
              <a:gd name="T80" fmla="*/ 402491 w 523"/>
              <a:gd name="T81" fmla="*/ 573830 h 992"/>
              <a:gd name="T82" fmla="*/ 436702 w 523"/>
              <a:gd name="T83" fmla="*/ 528631 h 992"/>
              <a:gd name="T84" fmla="*/ 478964 w 523"/>
              <a:gd name="T85" fmla="*/ 487363 h 992"/>
              <a:gd name="T86" fmla="*/ 507138 w 523"/>
              <a:gd name="T87" fmla="*/ 461815 h 992"/>
              <a:gd name="T88" fmla="*/ 549400 w 523"/>
              <a:gd name="T89" fmla="*/ 422512 h 992"/>
              <a:gd name="T90" fmla="*/ 587636 w 523"/>
              <a:gd name="T91" fmla="*/ 394999 h 992"/>
              <a:gd name="T92" fmla="*/ 623860 w 523"/>
              <a:gd name="T93" fmla="*/ 371417 h 992"/>
              <a:gd name="T94" fmla="*/ 670147 w 523"/>
              <a:gd name="T95" fmla="*/ 347835 h 992"/>
              <a:gd name="T96" fmla="*/ 720458 w 523"/>
              <a:gd name="T97" fmla="*/ 324253 h 992"/>
              <a:gd name="T98" fmla="*/ 778819 w 523"/>
              <a:gd name="T99" fmla="*/ 308532 h 992"/>
              <a:gd name="T100" fmla="*/ 841205 w 523"/>
              <a:gd name="T101" fmla="*/ 288880 h 992"/>
              <a:gd name="T102" fmla="*/ 911641 w 523"/>
              <a:gd name="T103" fmla="*/ 277089 h 992"/>
              <a:gd name="T104" fmla="*/ 988114 w 523"/>
              <a:gd name="T105" fmla="*/ 273159 h 99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23"/>
              <a:gd name="T160" fmla="*/ 0 h 992"/>
              <a:gd name="T161" fmla="*/ 523 w 523"/>
              <a:gd name="T162" fmla="*/ 992 h 99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23" h="992">
                <a:moveTo>
                  <a:pt x="500" y="139"/>
                </a:moveTo>
                <a:lnTo>
                  <a:pt x="497" y="0"/>
                </a:lnTo>
                <a:lnTo>
                  <a:pt x="453" y="1"/>
                </a:lnTo>
                <a:lnTo>
                  <a:pt x="435" y="63"/>
                </a:lnTo>
                <a:lnTo>
                  <a:pt x="341" y="89"/>
                </a:lnTo>
                <a:lnTo>
                  <a:pt x="281" y="48"/>
                </a:lnTo>
                <a:lnTo>
                  <a:pt x="213" y="86"/>
                </a:lnTo>
                <a:lnTo>
                  <a:pt x="217" y="158"/>
                </a:lnTo>
                <a:lnTo>
                  <a:pt x="166" y="212"/>
                </a:lnTo>
                <a:lnTo>
                  <a:pt x="96" y="201"/>
                </a:lnTo>
                <a:lnTo>
                  <a:pt x="49" y="276"/>
                </a:lnTo>
                <a:lnTo>
                  <a:pt x="91" y="335"/>
                </a:lnTo>
                <a:lnTo>
                  <a:pt x="63" y="424"/>
                </a:lnTo>
                <a:lnTo>
                  <a:pt x="2" y="440"/>
                </a:lnTo>
                <a:lnTo>
                  <a:pt x="1" y="445"/>
                </a:lnTo>
                <a:lnTo>
                  <a:pt x="1" y="450"/>
                </a:lnTo>
                <a:lnTo>
                  <a:pt x="0" y="456"/>
                </a:lnTo>
                <a:lnTo>
                  <a:pt x="0" y="462"/>
                </a:lnTo>
                <a:lnTo>
                  <a:pt x="0" y="468"/>
                </a:lnTo>
                <a:lnTo>
                  <a:pt x="0" y="474"/>
                </a:lnTo>
                <a:lnTo>
                  <a:pt x="0" y="477"/>
                </a:lnTo>
                <a:lnTo>
                  <a:pt x="0" y="481"/>
                </a:lnTo>
                <a:lnTo>
                  <a:pt x="0" y="483"/>
                </a:lnTo>
                <a:lnTo>
                  <a:pt x="0" y="487"/>
                </a:lnTo>
                <a:lnTo>
                  <a:pt x="0" y="491"/>
                </a:lnTo>
                <a:lnTo>
                  <a:pt x="0" y="494"/>
                </a:lnTo>
                <a:lnTo>
                  <a:pt x="0" y="497"/>
                </a:lnTo>
                <a:lnTo>
                  <a:pt x="0" y="500"/>
                </a:lnTo>
                <a:lnTo>
                  <a:pt x="0" y="504"/>
                </a:lnTo>
                <a:lnTo>
                  <a:pt x="0" y="507"/>
                </a:lnTo>
                <a:lnTo>
                  <a:pt x="0" y="511"/>
                </a:lnTo>
                <a:lnTo>
                  <a:pt x="0" y="515"/>
                </a:lnTo>
                <a:lnTo>
                  <a:pt x="0" y="518"/>
                </a:lnTo>
                <a:lnTo>
                  <a:pt x="0" y="521"/>
                </a:lnTo>
                <a:lnTo>
                  <a:pt x="0" y="524"/>
                </a:lnTo>
                <a:lnTo>
                  <a:pt x="1" y="528"/>
                </a:lnTo>
                <a:lnTo>
                  <a:pt x="1" y="531"/>
                </a:lnTo>
                <a:lnTo>
                  <a:pt x="1" y="535"/>
                </a:lnTo>
                <a:lnTo>
                  <a:pt x="2" y="538"/>
                </a:lnTo>
                <a:lnTo>
                  <a:pt x="2" y="542"/>
                </a:lnTo>
                <a:lnTo>
                  <a:pt x="63" y="559"/>
                </a:lnTo>
                <a:lnTo>
                  <a:pt x="88" y="652"/>
                </a:lnTo>
                <a:lnTo>
                  <a:pt x="48" y="711"/>
                </a:lnTo>
                <a:lnTo>
                  <a:pt x="86" y="780"/>
                </a:lnTo>
                <a:lnTo>
                  <a:pt x="158" y="777"/>
                </a:lnTo>
                <a:lnTo>
                  <a:pt x="212" y="826"/>
                </a:lnTo>
                <a:lnTo>
                  <a:pt x="201" y="897"/>
                </a:lnTo>
                <a:lnTo>
                  <a:pt x="278" y="944"/>
                </a:lnTo>
                <a:lnTo>
                  <a:pt x="334" y="903"/>
                </a:lnTo>
                <a:lnTo>
                  <a:pt x="431" y="931"/>
                </a:lnTo>
                <a:lnTo>
                  <a:pt x="442" y="988"/>
                </a:lnTo>
                <a:lnTo>
                  <a:pt x="497" y="992"/>
                </a:lnTo>
                <a:lnTo>
                  <a:pt x="523" y="935"/>
                </a:lnTo>
                <a:lnTo>
                  <a:pt x="496" y="853"/>
                </a:lnTo>
                <a:lnTo>
                  <a:pt x="494" y="853"/>
                </a:lnTo>
                <a:lnTo>
                  <a:pt x="493" y="853"/>
                </a:lnTo>
                <a:lnTo>
                  <a:pt x="491" y="853"/>
                </a:lnTo>
                <a:lnTo>
                  <a:pt x="488" y="853"/>
                </a:lnTo>
                <a:lnTo>
                  <a:pt x="484" y="852"/>
                </a:lnTo>
                <a:lnTo>
                  <a:pt x="479" y="852"/>
                </a:lnTo>
                <a:lnTo>
                  <a:pt x="474" y="852"/>
                </a:lnTo>
                <a:lnTo>
                  <a:pt x="469" y="852"/>
                </a:lnTo>
                <a:lnTo>
                  <a:pt x="466" y="851"/>
                </a:lnTo>
                <a:lnTo>
                  <a:pt x="462" y="851"/>
                </a:lnTo>
                <a:lnTo>
                  <a:pt x="459" y="851"/>
                </a:lnTo>
                <a:lnTo>
                  <a:pt x="455" y="850"/>
                </a:lnTo>
                <a:lnTo>
                  <a:pt x="451" y="850"/>
                </a:lnTo>
                <a:lnTo>
                  <a:pt x="448" y="848"/>
                </a:lnTo>
                <a:lnTo>
                  <a:pt x="444" y="848"/>
                </a:lnTo>
                <a:lnTo>
                  <a:pt x="441" y="848"/>
                </a:lnTo>
                <a:lnTo>
                  <a:pt x="436" y="847"/>
                </a:lnTo>
                <a:lnTo>
                  <a:pt x="432" y="846"/>
                </a:lnTo>
                <a:lnTo>
                  <a:pt x="427" y="845"/>
                </a:lnTo>
                <a:lnTo>
                  <a:pt x="424" y="844"/>
                </a:lnTo>
                <a:lnTo>
                  <a:pt x="419" y="842"/>
                </a:lnTo>
                <a:lnTo>
                  <a:pt x="414" y="842"/>
                </a:lnTo>
                <a:lnTo>
                  <a:pt x="409" y="841"/>
                </a:lnTo>
                <a:lnTo>
                  <a:pt x="405" y="840"/>
                </a:lnTo>
                <a:lnTo>
                  <a:pt x="400" y="839"/>
                </a:lnTo>
                <a:lnTo>
                  <a:pt x="395" y="838"/>
                </a:lnTo>
                <a:lnTo>
                  <a:pt x="390" y="836"/>
                </a:lnTo>
                <a:lnTo>
                  <a:pt x="384" y="835"/>
                </a:lnTo>
                <a:lnTo>
                  <a:pt x="379" y="833"/>
                </a:lnTo>
                <a:lnTo>
                  <a:pt x="375" y="832"/>
                </a:lnTo>
                <a:lnTo>
                  <a:pt x="369" y="829"/>
                </a:lnTo>
                <a:lnTo>
                  <a:pt x="365" y="828"/>
                </a:lnTo>
                <a:lnTo>
                  <a:pt x="359" y="826"/>
                </a:lnTo>
                <a:lnTo>
                  <a:pt x="354" y="823"/>
                </a:lnTo>
                <a:lnTo>
                  <a:pt x="348" y="821"/>
                </a:lnTo>
                <a:lnTo>
                  <a:pt x="344" y="820"/>
                </a:lnTo>
                <a:lnTo>
                  <a:pt x="339" y="816"/>
                </a:lnTo>
                <a:lnTo>
                  <a:pt x="334" y="814"/>
                </a:lnTo>
                <a:lnTo>
                  <a:pt x="328" y="813"/>
                </a:lnTo>
                <a:lnTo>
                  <a:pt x="323" y="810"/>
                </a:lnTo>
                <a:lnTo>
                  <a:pt x="317" y="807"/>
                </a:lnTo>
                <a:lnTo>
                  <a:pt x="312" y="803"/>
                </a:lnTo>
                <a:lnTo>
                  <a:pt x="308" y="801"/>
                </a:lnTo>
                <a:lnTo>
                  <a:pt x="302" y="797"/>
                </a:lnTo>
                <a:lnTo>
                  <a:pt x="297" y="793"/>
                </a:lnTo>
                <a:lnTo>
                  <a:pt x="292" y="790"/>
                </a:lnTo>
                <a:lnTo>
                  <a:pt x="286" y="787"/>
                </a:lnTo>
                <a:lnTo>
                  <a:pt x="282" y="784"/>
                </a:lnTo>
                <a:lnTo>
                  <a:pt x="276" y="779"/>
                </a:lnTo>
                <a:lnTo>
                  <a:pt x="272" y="775"/>
                </a:lnTo>
                <a:lnTo>
                  <a:pt x="267" y="772"/>
                </a:lnTo>
                <a:lnTo>
                  <a:pt x="262" y="767"/>
                </a:lnTo>
                <a:lnTo>
                  <a:pt x="257" y="763"/>
                </a:lnTo>
                <a:lnTo>
                  <a:pt x="254" y="759"/>
                </a:lnTo>
                <a:lnTo>
                  <a:pt x="249" y="754"/>
                </a:lnTo>
                <a:lnTo>
                  <a:pt x="245" y="749"/>
                </a:lnTo>
                <a:lnTo>
                  <a:pt x="243" y="748"/>
                </a:lnTo>
                <a:lnTo>
                  <a:pt x="239" y="744"/>
                </a:lnTo>
                <a:lnTo>
                  <a:pt x="237" y="742"/>
                </a:lnTo>
                <a:lnTo>
                  <a:pt x="235" y="740"/>
                </a:lnTo>
                <a:lnTo>
                  <a:pt x="231" y="736"/>
                </a:lnTo>
                <a:lnTo>
                  <a:pt x="229" y="734"/>
                </a:lnTo>
                <a:lnTo>
                  <a:pt x="224" y="729"/>
                </a:lnTo>
                <a:lnTo>
                  <a:pt x="220" y="724"/>
                </a:lnTo>
                <a:lnTo>
                  <a:pt x="215" y="718"/>
                </a:lnTo>
                <a:lnTo>
                  <a:pt x="212" y="713"/>
                </a:lnTo>
                <a:lnTo>
                  <a:pt x="209" y="710"/>
                </a:lnTo>
                <a:lnTo>
                  <a:pt x="207" y="706"/>
                </a:lnTo>
                <a:lnTo>
                  <a:pt x="205" y="704"/>
                </a:lnTo>
                <a:lnTo>
                  <a:pt x="202" y="700"/>
                </a:lnTo>
                <a:lnTo>
                  <a:pt x="200" y="696"/>
                </a:lnTo>
                <a:lnTo>
                  <a:pt x="197" y="693"/>
                </a:lnTo>
                <a:lnTo>
                  <a:pt x="195" y="689"/>
                </a:lnTo>
                <a:lnTo>
                  <a:pt x="193" y="686"/>
                </a:lnTo>
                <a:lnTo>
                  <a:pt x="190" y="681"/>
                </a:lnTo>
                <a:lnTo>
                  <a:pt x="188" y="677"/>
                </a:lnTo>
                <a:lnTo>
                  <a:pt x="185" y="673"/>
                </a:lnTo>
                <a:lnTo>
                  <a:pt x="183" y="668"/>
                </a:lnTo>
                <a:lnTo>
                  <a:pt x="179" y="664"/>
                </a:lnTo>
                <a:lnTo>
                  <a:pt x="178" y="659"/>
                </a:lnTo>
                <a:lnTo>
                  <a:pt x="176" y="653"/>
                </a:lnTo>
                <a:lnTo>
                  <a:pt x="173" y="650"/>
                </a:lnTo>
                <a:lnTo>
                  <a:pt x="171" y="644"/>
                </a:lnTo>
                <a:lnTo>
                  <a:pt x="169" y="639"/>
                </a:lnTo>
                <a:lnTo>
                  <a:pt x="166" y="633"/>
                </a:lnTo>
                <a:lnTo>
                  <a:pt x="165" y="628"/>
                </a:lnTo>
                <a:lnTo>
                  <a:pt x="163" y="622"/>
                </a:lnTo>
                <a:lnTo>
                  <a:pt x="160" y="617"/>
                </a:lnTo>
                <a:lnTo>
                  <a:pt x="158" y="611"/>
                </a:lnTo>
                <a:lnTo>
                  <a:pt x="157" y="606"/>
                </a:lnTo>
                <a:lnTo>
                  <a:pt x="154" y="600"/>
                </a:lnTo>
                <a:lnTo>
                  <a:pt x="153" y="594"/>
                </a:lnTo>
                <a:lnTo>
                  <a:pt x="151" y="588"/>
                </a:lnTo>
                <a:lnTo>
                  <a:pt x="149" y="580"/>
                </a:lnTo>
                <a:lnTo>
                  <a:pt x="147" y="574"/>
                </a:lnTo>
                <a:lnTo>
                  <a:pt x="146" y="567"/>
                </a:lnTo>
                <a:lnTo>
                  <a:pt x="145" y="560"/>
                </a:lnTo>
                <a:lnTo>
                  <a:pt x="144" y="554"/>
                </a:lnTo>
                <a:lnTo>
                  <a:pt x="142" y="547"/>
                </a:lnTo>
                <a:lnTo>
                  <a:pt x="141" y="540"/>
                </a:lnTo>
                <a:lnTo>
                  <a:pt x="140" y="531"/>
                </a:lnTo>
                <a:lnTo>
                  <a:pt x="140" y="525"/>
                </a:lnTo>
                <a:lnTo>
                  <a:pt x="139" y="517"/>
                </a:lnTo>
                <a:lnTo>
                  <a:pt x="138" y="510"/>
                </a:lnTo>
                <a:lnTo>
                  <a:pt x="138" y="501"/>
                </a:lnTo>
                <a:lnTo>
                  <a:pt x="138" y="494"/>
                </a:lnTo>
                <a:lnTo>
                  <a:pt x="138" y="492"/>
                </a:lnTo>
                <a:lnTo>
                  <a:pt x="138" y="489"/>
                </a:lnTo>
                <a:lnTo>
                  <a:pt x="138" y="485"/>
                </a:lnTo>
                <a:lnTo>
                  <a:pt x="138" y="482"/>
                </a:lnTo>
                <a:lnTo>
                  <a:pt x="138" y="476"/>
                </a:lnTo>
                <a:lnTo>
                  <a:pt x="139" y="471"/>
                </a:lnTo>
                <a:lnTo>
                  <a:pt x="139" y="465"/>
                </a:lnTo>
                <a:lnTo>
                  <a:pt x="140" y="460"/>
                </a:lnTo>
                <a:lnTo>
                  <a:pt x="140" y="456"/>
                </a:lnTo>
                <a:lnTo>
                  <a:pt x="141" y="452"/>
                </a:lnTo>
                <a:lnTo>
                  <a:pt x="141" y="449"/>
                </a:lnTo>
                <a:lnTo>
                  <a:pt x="142" y="445"/>
                </a:lnTo>
                <a:lnTo>
                  <a:pt x="142" y="442"/>
                </a:lnTo>
                <a:lnTo>
                  <a:pt x="144" y="437"/>
                </a:lnTo>
                <a:lnTo>
                  <a:pt x="144" y="433"/>
                </a:lnTo>
                <a:lnTo>
                  <a:pt x="145" y="430"/>
                </a:lnTo>
                <a:lnTo>
                  <a:pt x="145" y="425"/>
                </a:lnTo>
                <a:lnTo>
                  <a:pt x="146" y="421"/>
                </a:lnTo>
                <a:lnTo>
                  <a:pt x="147" y="416"/>
                </a:lnTo>
                <a:lnTo>
                  <a:pt x="148" y="413"/>
                </a:lnTo>
                <a:lnTo>
                  <a:pt x="149" y="408"/>
                </a:lnTo>
                <a:lnTo>
                  <a:pt x="151" y="403"/>
                </a:lnTo>
                <a:lnTo>
                  <a:pt x="152" y="398"/>
                </a:lnTo>
                <a:lnTo>
                  <a:pt x="153" y="395"/>
                </a:lnTo>
                <a:lnTo>
                  <a:pt x="154" y="390"/>
                </a:lnTo>
                <a:lnTo>
                  <a:pt x="155" y="385"/>
                </a:lnTo>
                <a:lnTo>
                  <a:pt x="157" y="381"/>
                </a:lnTo>
                <a:lnTo>
                  <a:pt x="158" y="376"/>
                </a:lnTo>
                <a:lnTo>
                  <a:pt x="160" y="371"/>
                </a:lnTo>
                <a:lnTo>
                  <a:pt x="161" y="366"/>
                </a:lnTo>
                <a:lnTo>
                  <a:pt x="164" y="361"/>
                </a:lnTo>
                <a:lnTo>
                  <a:pt x="166" y="357"/>
                </a:lnTo>
                <a:lnTo>
                  <a:pt x="167" y="352"/>
                </a:lnTo>
                <a:lnTo>
                  <a:pt x="170" y="347"/>
                </a:lnTo>
                <a:lnTo>
                  <a:pt x="172" y="341"/>
                </a:lnTo>
                <a:lnTo>
                  <a:pt x="175" y="336"/>
                </a:lnTo>
                <a:lnTo>
                  <a:pt x="177" y="331"/>
                </a:lnTo>
                <a:lnTo>
                  <a:pt x="179" y="327"/>
                </a:lnTo>
                <a:lnTo>
                  <a:pt x="182" y="322"/>
                </a:lnTo>
                <a:lnTo>
                  <a:pt x="185" y="317"/>
                </a:lnTo>
                <a:lnTo>
                  <a:pt x="188" y="312"/>
                </a:lnTo>
                <a:lnTo>
                  <a:pt x="190" y="308"/>
                </a:lnTo>
                <a:lnTo>
                  <a:pt x="193" y="302"/>
                </a:lnTo>
                <a:lnTo>
                  <a:pt x="196" y="298"/>
                </a:lnTo>
                <a:lnTo>
                  <a:pt x="200" y="292"/>
                </a:lnTo>
                <a:lnTo>
                  <a:pt x="202" y="287"/>
                </a:lnTo>
                <a:lnTo>
                  <a:pt x="206" y="284"/>
                </a:lnTo>
                <a:lnTo>
                  <a:pt x="211" y="279"/>
                </a:lnTo>
                <a:lnTo>
                  <a:pt x="214" y="274"/>
                </a:lnTo>
                <a:lnTo>
                  <a:pt x="217" y="269"/>
                </a:lnTo>
                <a:lnTo>
                  <a:pt x="221" y="264"/>
                </a:lnTo>
                <a:lnTo>
                  <a:pt x="226" y="261"/>
                </a:lnTo>
                <a:lnTo>
                  <a:pt x="230" y="256"/>
                </a:lnTo>
                <a:lnTo>
                  <a:pt x="235" y="251"/>
                </a:lnTo>
                <a:lnTo>
                  <a:pt x="238" y="248"/>
                </a:lnTo>
                <a:lnTo>
                  <a:pt x="244" y="244"/>
                </a:lnTo>
                <a:lnTo>
                  <a:pt x="244" y="242"/>
                </a:lnTo>
                <a:lnTo>
                  <a:pt x="248" y="239"/>
                </a:lnTo>
                <a:lnTo>
                  <a:pt x="249" y="237"/>
                </a:lnTo>
                <a:lnTo>
                  <a:pt x="252" y="235"/>
                </a:lnTo>
                <a:lnTo>
                  <a:pt x="255" y="231"/>
                </a:lnTo>
                <a:lnTo>
                  <a:pt x="260" y="227"/>
                </a:lnTo>
                <a:lnTo>
                  <a:pt x="262" y="224"/>
                </a:lnTo>
                <a:lnTo>
                  <a:pt x="268" y="219"/>
                </a:lnTo>
                <a:lnTo>
                  <a:pt x="273" y="215"/>
                </a:lnTo>
                <a:lnTo>
                  <a:pt x="279" y="212"/>
                </a:lnTo>
                <a:lnTo>
                  <a:pt x="281" y="208"/>
                </a:lnTo>
                <a:lnTo>
                  <a:pt x="285" y="206"/>
                </a:lnTo>
                <a:lnTo>
                  <a:pt x="287" y="203"/>
                </a:lnTo>
                <a:lnTo>
                  <a:pt x="292" y="201"/>
                </a:lnTo>
                <a:lnTo>
                  <a:pt x="296" y="199"/>
                </a:lnTo>
                <a:lnTo>
                  <a:pt x="298" y="197"/>
                </a:lnTo>
                <a:lnTo>
                  <a:pt x="303" y="194"/>
                </a:lnTo>
                <a:lnTo>
                  <a:pt x="308" y="193"/>
                </a:lnTo>
                <a:lnTo>
                  <a:pt x="310" y="189"/>
                </a:lnTo>
                <a:lnTo>
                  <a:pt x="315" y="188"/>
                </a:lnTo>
                <a:lnTo>
                  <a:pt x="318" y="184"/>
                </a:lnTo>
                <a:lnTo>
                  <a:pt x="323" y="182"/>
                </a:lnTo>
                <a:lnTo>
                  <a:pt x="328" y="179"/>
                </a:lnTo>
                <a:lnTo>
                  <a:pt x="333" y="177"/>
                </a:lnTo>
                <a:lnTo>
                  <a:pt x="338" y="175"/>
                </a:lnTo>
                <a:lnTo>
                  <a:pt x="342" y="174"/>
                </a:lnTo>
                <a:lnTo>
                  <a:pt x="347" y="170"/>
                </a:lnTo>
                <a:lnTo>
                  <a:pt x="352" y="168"/>
                </a:lnTo>
                <a:lnTo>
                  <a:pt x="358" y="165"/>
                </a:lnTo>
                <a:lnTo>
                  <a:pt x="363" y="164"/>
                </a:lnTo>
                <a:lnTo>
                  <a:pt x="369" y="162"/>
                </a:lnTo>
                <a:lnTo>
                  <a:pt x="375" y="160"/>
                </a:lnTo>
                <a:lnTo>
                  <a:pt x="381" y="158"/>
                </a:lnTo>
                <a:lnTo>
                  <a:pt x="387" y="157"/>
                </a:lnTo>
                <a:lnTo>
                  <a:pt x="393" y="154"/>
                </a:lnTo>
                <a:lnTo>
                  <a:pt x="399" y="152"/>
                </a:lnTo>
                <a:lnTo>
                  <a:pt x="405" y="151"/>
                </a:lnTo>
                <a:lnTo>
                  <a:pt x="412" y="150"/>
                </a:lnTo>
                <a:lnTo>
                  <a:pt x="418" y="147"/>
                </a:lnTo>
                <a:lnTo>
                  <a:pt x="425" y="146"/>
                </a:lnTo>
                <a:lnTo>
                  <a:pt x="431" y="145"/>
                </a:lnTo>
                <a:lnTo>
                  <a:pt x="439" y="144"/>
                </a:lnTo>
                <a:lnTo>
                  <a:pt x="445" y="142"/>
                </a:lnTo>
                <a:lnTo>
                  <a:pt x="453" y="141"/>
                </a:lnTo>
                <a:lnTo>
                  <a:pt x="460" y="140"/>
                </a:lnTo>
                <a:lnTo>
                  <a:pt x="468" y="140"/>
                </a:lnTo>
                <a:lnTo>
                  <a:pt x="475" y="139"/>
                </a:lnTo>
                <a:lnTo>
                  <a:pt x="484" y="139"/>
                </a:lnTo>
                <a:lnTo>
                  <a:pt x="491" y="139"/>
                </a:lnTo>
                <a:lnTo>
                  <a:pt x="500" y="139"/>
                </a:lnTo>
                <a:close/>
              </a:path>
            </a:pathLst>
          </a:custGeom>
          <a:solidFill>
            <a:srgbClr val="EAEAEA"/>
          </a:solidFill>
          <a:ln w="9525">
            <a:noFill/>
            <a:round/>
            <a:headEnd/>
            <a:tailEnd/>
          </a:ln>
        </p:spPr>
        <p:txBody>
          <a:bodyPr/>
          <a:lstStyle/>
          <a:p>
            <a:endParaRPr lang="en-US"/>
          </a:p>
        </p:txBody>
      </p:sp>
      <p:sp>
        <p:nvSpPr>
          <p:cNvPr id="39956" name="Oval 32"/>
          <p:cNvSpPr>
            <a:spLocks noChangeArrowheads="1"/>
          </p:cNvSpPr>
          <p:nvPr/>
        </p:nvSpPr>
        <p:spPr bwMode="gray">
          <a:xfrm>
            <a:off x="3578225" y="5056188"/>
            <a:ext cx="1595438" cy="1571625"/>
          </a:xfrm>
          <a:prstGeom prst="ellipse">
            <a:avLst/>
          </a:prstGeom>
          <a:solidFill>
            <a:srgbClr val="EAEAEA"/>
          </a:solidFill>
          <a:ln w="28575">
            <a:solidFill>
              <a:srgbClr val="DDDDDD"/>
            </a:solidFill>
            <a:round/>
            <a:headEnd/>
            <a:tailEnd/>
          </a:ln>
        </p:spPr>
        <p:txBody>
          <a:bodyPr/>
          <a:lstStyle/>
          <a:p>
            <a:endParaRPr lang="en-US"/>
          </a:p>
        </p:txBody>
      </p:sp>
      <p:sp>
        <p:nvSpPr>
          <p:cNvPr id="39957" name="Oval 33"/>
          <p:cNvSpPr>
            <a:spLocks noChangeArrowheads="1"/>
          </p:cNvSpPr>
          <p:nvPr/>
        </p:nvSpPr>
        <p:spPr bwMode="gray">
          <a:xfrm flipV="1">
            <a:off x="4249738" y="5737225"/>
            <a:ext cx="222250" cy="219075"/>
          </a:xfrm>
          <a:prstGeom prst="ellipse">
            <a:avLst/>
          </a:prstGeom>
          <a:solidFill>
            <a:srgbClr val="DDDDDD"/>
          </a:solidFill>
          <a:ln w="28575">
            <a:solidFill>
              <a:srgbClr val="DDDDDD"/>
            </a:solidFill>
            <a:round/>
            <a:headEnd/>
            <a:tailEnd/>
          </a:ln>
        </p:spPr>
        <p:txBody>
          <a:bodyPr/>
          <a:lstStyle/>
          <a:p>
            <a:endParaRPr lang="en-US"/>
          </a:p>
        </p:txBody>
      </p:sp>
      <p:sp>
        <p:nvSpPr>
          <p:cNvPr id="39958" name="Oval 39"/>
          <p:cNvSpPr>
            <a:spLocks noChangeArrowheads="1"/>
          </p:cNvSpPr>
          <p:nvPr/>
        </p:nvSpPr>
        <p:spPr bwMode="gray">
          <a:xfrm flipV="1">
            <a:off x="6161088" y="3933825"/>
            <a:ext cx="222250" cy="219075"/>
          </a:xfrm>
          <a:prstGeom prst="ellipse">
            <a:avLst/>
          </a:prstGeom>
          <a:solidFill>
            <a:srgbClr val="DDDDDD"/>
          </a:solidFill>
          <a:ln w="28575">
            <a:solidFill>
              <a:srgbClr val="DDDDDD"/>
            </a:solidFill>
            <a:round/>
            <a:headEnd/>
            <a:tailEnd/>
          </a:ln>
        </p:spPr>
        <p:txBody>
          <a:bodyPr/>
          <a:lstStyle/>
          <a:p>
            <a:endParaRPr lang="en-US"/>
          </a:p>
        </p:txBody>
      </p:sp>
      <p:sp>
        <p:nvSpPr>
          <p:cNvPr id="39959" name="Text Box 43"/>
          <p:cNvSpPr txBox="1">
            <a:spLocks noChangeArrowheads="1"/>
          </p:cNvSpPr>
          <p:nvPr/>
        </p:nvSpPr>
        <p:spPr bwMode="gray">
          <a:xfrm>
            <a:off x="3381375" y="5054600"/>
            <a:ext cx="1938338" cy="1527175"/>
          </a:xfrm>
          <a:prstGeom prst="rect">
            <a:avLst/>
          </a:prstGeom>
          <a:noFill/>
          <a:ln w="12700">
            <a:noFill/>
            <a:miter lim="800000"/>
            <a:headEnd/>
            <a:tailEnd/>
          </a:ln>
        </p:spPr>
        <p:txBody>
          <a:bodyPr anchor="ctr"/>
          <a:lstStyle/>
          <a:p>
            <a:pPr algn="ctr" eaLnBrk="0" hangingPunct="0">
              <a:buClr>
                <a:schemeClr val="accent2"/>
              </a:buClr>
              <a:buFont typeface="Symbol" pitchFamily="18" charset="2"/>
              <a:buNone/>
            </a:pPr>
            <a:r>
              <a:rPr lang="en-US" sz="1600" b="1"/>
              <a:t>Communications</a:t>
            </a:r>
            <a:endParaRPr lang="en-US" sz="1000"/>
          </a:p>
        </p:txBody>
      </p:sp>
      <p:sp>
        <p:nvSpPr>
          <p:cNvPr id="39960" name="Text Box 44"/>
          <p:cNvSpPr txBox="1">
            <a:spLocks noChangeArrowheads="1"/>
          </p:cNvSpPr>
          <p:nvPr/>
        </p:nvSpPr>
        <p:spPr bwMode="gray">
          <a:xfrm>
            <a:off x="1674813" y="3159125"/>
            <a:ext cx="1495425" cy="1527175"/>
          </a:xfrm>
          <a:prstGeom prst="rect">
            <a:avLst/>
          </a:prstGeom>
          <a:noFill/>
          <a:ln w="12700">
            <a:noFill/>
            <a:miter lim="800000"/>
            <a:headEnd/>
            <a:tailEnd/>
          </a:ln>
        </p:spPr>
        <p:txBody>
          <a:bodyPr anchor="ctr"/>
          <a:lstStyle/>
          <a:p>
            <a:pPr algn="ctr" eaLnBrk="0" hangingPunct="0">
              <a:buClr>
                <a:schemeClr val="accent2"/>
              </a:buClr>
              <a:buFont typeface="Symbol" pitchFamily="18" charset="2"/>
              <a:buNone/>
            </a:pPr>
            <a:r>
              <a:rPr lang="en-US" sz="1600" b="1"/>
              <a:t>Finance &amp; Accounting</a:t>
            </a:r>
            <a:endParaRPr lang="en-US" sz="1000"/>
          </a:p>
        </p:txBody>
      </p:sp>
      <p:sp>
        <p:nvSpPr>
          <p:cNvPr id="39961" name="Text Box 45"/>
          <p:cNvSpPr txBox="1">
            <a:spLocks noChangeArrowheads="1"/>
          </p:cNvSpPr>
          <p:nvPr/>
        </p:nvSpPr>
        <p:spPr bwMode="gray">
          <a:xfrm>
            <a:off x="5791200" y="1535113"/>
            <a:ext cx="2809875" cy="1187450"/>
          </a:xfrm>
          <a:prstGeom prst="rect">
            <a:avLst/>
          </a:prstGeom>
          <a:noFill/>
          <a:ln w="9525" algn="ctr">
            <a:noFill/>
            <a:miter lim="800000"/>
            <a:headEnd/>
            <a:tailEnd/>
          </a:ln>
        </p:spPr>
        <p:txBody>
          <a:bodyPr>
            <a:spAutoFit/>
          </a:bodyPr>
          <a:lstStyle/>
          <a:p>
            <a:pPr marL="119063" indent="-119063">
              <a:buFontTx/>
              <a:buChar char="•"/>
            </a:pPr>
            <a:r>
              <a:rPr lang="en-US" sz="1200">
                <a:solidFill>
                  <a:schemeClr val="bg2"/>
                </a:solidFill>
              </a:rPr>
              <a:t>Contract defined activities for target audiences</a:t>
            </a:r>
          </a:p>
          <a:p>
            <a:pPr marL="119063" indent="-119063">
              <a:buFontTx/>
              <a:buChar char="•"/>
            </a:pPr>
            <a:r>
              <a:rPr lang="en-US" sz="1200">
                <a:solidFill>
                  <a:schemeClr val="bg2"/>
                </a:solidFill>
              </a:rPr>
              <a:t>HIV Testing </a:t>
            </a:r>
          </a:p>
          <a:p>
            <a:pPr marL="119063" indent="-119063">
              <a:buFontTx/>
              <a:buChar char="•"/>
            </a:pPr>
            <a:r>
              <a:rPr lang="en-US" sz="1200">
                <a:solidFill>
                  <a:schemeClr val="bg2"/>
                </a:solidFill>
              </a:rPr>
              <a:t>Contraceptive distribution</a:t>
            </a:r>
          </a:p>
          <a:p>
            <a:pPr marL="119063" indent="-119063">
              <a:buFontTx/>
              <a:buChar char="•"/>
            </a:pPr>
            <a:r>
              <a:rPr lang="en-US" sz="1200">
                <a:solidFill>
                  <a:schemeClr val="bg2"/>
                </a:solidFill>
              </a:rPr>
              <a:t>Counseling/ support services</a:t>
            </a:r>
          </a:p>
          <a:p>
            <a:pPr marL="119063" indent="-119063">
              <a:buFontTx/>
              <a:buChar char="•"/>
            </a:pPr>
            <a:r>
              <a:rPr lang="en-US" sz="1200">
                <a:solidFill>
                  <a:schemeClr val="bg2"/>
                </a:solidFill>
              </a:rPr>
              <a:t>STD testing</a:t>
            </a:r>
          </a:p>
        </p:txBody>
      </p:sp>
      <p:sp>
        <p:nvSpPr>
          <p:cNvPr id="39962" name="Text Box 47"/>
          <p:cNvSpPr txBox="1">
            <a:spLocks noChangeArrowheads="1"/>
          </p:cNvSpPr>
          <p:nvPr/>
        </p:nvSpPr>
        <p:spPr bwMode="gray">
          <a:xfrm>
            <a:off x="6889750" y="4964113"/>
            <a:ext cx="2152650" cy="822325"/>
          </a:xfrm>
          <a:prstGeom prst="rect">
            <a:avLst/>
          </a:prstGeom>
          <a:noFill/>
          <a:ln w="9525" algn="ctr">
            <a:noFill/>
            <a:miter lim="800000"/>
            <a:headEnd/>
            <a:tailEnd/>
          </a:ln>
        </p:spPr>
        <p:txBody>
          <a:bodyPr wrap="none">
            <a:spAutoFit/>
          </a:bodyPr>
          <a:lstStyle/>
          <a:p>
            <a:pPr marL="119063" indent="-119063">
              <a:buFontTx/>
              <a:buChar char="•"/>
            </a:pPr>
            <a:r>
              <a:rPr lang="en-US" sz="1200">
                <a:solidFill>
                  <a:schemeClr val="bg2"/>
                </a:solidFill>
              </a:rPr>
              <a:t>Key performance indicators</a:t>
            </a:r>
          </a:p>
          <a:p>
            <a:pPr marL="119063" indent="-119063">
              <a:buFontTx/>
              <a:buChar char="•"/>
            </a:pPr>
            <a:r>
              <a:rPr lang="en-US" sz="1200">
                <a:solidFill>
                  <a:schemeClr val="bg2"/>
                </a:solidFill>
              </a:rPr>
              <a:t>Program outcomes</a:t>
            </a:r>
          </a:p>
          <a:p>
            <a:pPr marL="119063" indent="-119063">
              <a:buFontTx/>
              <a:buChar char="•"/>
            </a:pPr>
            <a:r>
              <a:rPr lang="en-US" sz="1200">
                <a:solidFill>
                  <a:schemeClr val="bg2"/>
                </a:solidFill>
              </a:rPr>
              <a:t>Capacity status</a:t>
            </a:r>
          </a:p>
          <a:p>
            <a:pPr marL="119063" indent="-119063">
              <a:buFontTx/>
              <a:buChar char="•"/>
            </a:pPr>
            <a:r>
              <a:rPr lang="en-US" sz="1200">
                <a:solidFill>
                  <a:schemeClr val="bg2"/>
                </a:solidFill>
              </a:rPr>
              <a:t>Trends</a:t>
            </a:r>
          </a:p>
        </p:txBody>
      </p:sp>
      <p:sp>
        <p:nvSpPr>
          <p:cNvPr id="39963" name="Text Box 49"/>
          <p:cNvSpPr txBox="1">
            <a:spLocks noChangeArrowheads="1"/>
          </p:cNvSpPr>
          <p:nvPr/>
        </p:nvSpPr>
        <p:spPr bwMode="gray">
          <a:xfrm>
            <a:off x="-44450" y="2144713"/>
            <a:ext cx="1828800" cy="639762"/>
          </a:xfrm>
          <a:prstGeom prst="rect">
            <a:avLst/>
          </a:prstGeom>
          <a:noFill/>
          <a:ln w="9525" algn="ctr">
            <a:noFill/>
            <a:miter lim="800000"/>
            <a:headEnd/>
            <a:tailEnd/>
          </a:ln>
        </p:spPr>
        <p:txBody>
          <a:bodyPr>
            <a:spAutoFit/>
          </a:bodyPr>
          <a:lstStyle/>
          <a:p>
            <a:pPr marL="119063" indent="-119063" algn="r">
              <a:buFontTx/>
              <a:buChar char="•"/>
            </a:pPr>
            <a:r>
              <a:rPr lang="en-US" sz="1200">
                <a:solidFill>
                  <a:schemeClr val="bg2"/>
                </a:solidFill>
              </a:rPr>
              <a:t>Budgeting, Planning and Forecasting</a:t>
            </a:r>
          </a:p>
          <a:p>
            <a:pPr marL="119063" indent="-119063" algn="r">
              <a:buFontTx/>
              <a:buChar char="•"/>
            </a:pPr>
            <a:r>
              <a:rPr lang="en-US" sz="1200">
                <a:solidFill>
                  <a:schemeClr val="bg2"/>
                </a:solidFill>
              </a:rPr>
              <a:t>Payment Processing</a:t>
            </a:r>
          </a:p>
        </p:txBody>
      </p:sp>
      <p:sp>
        <p:nvSpPr>
          <p:cNvPr id="39964" name="Line 50"/>
          <p:cNvSpPr>
            <a:spLocks noChangeShapeType="1"/>
          </p:cNvSpPr>
          <p:nvPr/>
        </p:nvSpPr>
        <p:spPr bwMode="gray">
          <a:xfrm>
            <a:off x="5791200" y="1611313"/>
            <a:ext cx="7938" cy="884237"/>
          </a:xfrm>
          <a:prstGeom prst="line">
            <a:avLst/>
          </a:prstGeom>
          <a:noFill/>
          <a:ln w="9525">
            <a:solidFill>
              <a:schemeClr val="bg2"/>
            </a:solidFill>
            <a:round/>
            <a:headEnd/>
            <a:tailEnd/>
          </a:ln>
        </p:spPr>
        <p:txBody>
          <a:bodyPr/>
          <a:lstStyle/>
          <a:p>
            <a:endParaRPr lang="en-US"/>
          </a:p>
        </p:txBody>
      </p:sp>
      <p:sp>
        <p:nvSpPr>
          <p:cNvPr id="39965" name="Line 54"/>
          <p:cNvSpPr>
            <a:spLocks noChangeShapeType="1"/>
          </p:cNvSpPr>
          <p:nvPr/>
        </p:nvSpPr>
        <p:spPr bwMode="gray">
          <a:xfrm>
            <a:off x="6934200" y="4964113"/>
            <a:ext cx="0" cy="860425"/>
          </a:xfrm>
          <a:prstGeom prst="line">
            <a:avLst/>
          </a:prstGeom>
          <a:noFill/>
          <a:ln w="9525">
            <a:solidFill>
              <a:schemeClr val="bg2"/>
            </a:solidFill>
            <a:round/>
            <a:headEnd/>
            <a:tailEnd/>
          </a:ln>
        </p:spPr>
        <p:txBody>
          <a:bodyPr/>
          <a:lstStyle/>
          <a:p>
            <a:endParaRPr lang="en-US"/>
          </a:p>
        </p:txBody>
      </p:sp>
      <p:sp>
        <p:nvSpPr>
          <p:cNvPr id="39966" name="Line 55"/>
          <p:cNvSpPr>
            <a:spLocks noChangeShapeType="1"/>
          </p:cNvSpPr>
          <p:nvPr/>
        </p:nvSpPr>
        <p:spPr bwMode="gray">
          <a:xfrm flipH="1" flipV="1">
            <a:off x="6553200" y="4659313"/>
            <a:ext cx="363538" cy="608012"/>
          </a:xfrm>
          <a:prstGeom prst="line">
            <a:avLst/>
          </a:prstGeom>
          <a:noFill/>
          <a:ln w="9525">
            <a:solidFill>
              <a:schemeClr val="bg2"/>
            </a:solidFill>
            <a:round/>
            <a:headEnd/>
            <a:tailEnd/>
          </a:ln>
        </p:spPr>
        <p:txBody>
          <a:bodyPr/>
          <a:lstStyle/>
          <a:p>
            <a:endParaRPr lang="en-US"/>
          </a:p>
        </p:txBody>
      </p:sp>
      <p:sp>
        <p:nvSpPr>
          <p:cNvPr id="39967" name="Line 57"/>
          <p:cNvSpPr>
            <a:spLocks noChangeShapeType="1"/>
          </p:cNvSpPr>
          <p:nvPr/>
        </p:nvSpPr>
        <p:spPr bwMode="gray">
          <a:xfrm>
            <a:off x="1752600" y="2982913"/>
            <a:ext cx="369888" cy="593725"/>
          </a:xfrm>
          <a:prstGeom prst="line">
            <a:avLst/>
          </a:prstGeom>
          <a:noFill/>
          <a:ln w="9525">
            <a:solidFill>
              <a:schemeClr val="bg2"/>
            </a:solidFill>
            <a:round/>
            <a:headEnd/>
            <a:tailEnd/>
          </a:ln>
        </p:spPr>
        <p:txBody>
          <a:bodyPr/>
          <a:lstStyle/>
          <a:p>
            <a:endParaRPr lang="en-US"/>
          </a:p>
        </p:txBody>
      </p:sp>
      <p:sp>
        <p:nvSpPr>
          <p:cNvPr id="39968" name="Text Box 58"/>
          <p:cNvSpPr txBox="1">
            <a:spLocks noChangeArrowheads="1"/>
          </p:cNvSpPr>
          <p:nvPr/>
        </p:nvSpPr>
        <p:spPr bwMode="gray">
          <a:xfrm>
            <a:off x="1203325" y="5243513"/>
            <a:ext cx="1768475" cy="1004887"/>
          </a:xfrm>
          <a:prstGeom prst="rect">
            <a:avLst/>
          </a:prstGeom>
          <a:noFill/>
          <a:ln w="9525" algn="ctr">
            <a:noFill/>
            <a:miter lim="800000"/>
            <a:headEnd/>
            <a:tailEnd/>
          </a:ln>
        </p:spPr>
        <p:txBody>
          <a:bodyPr>
            <a:spAutoFit/>
          </a:bodyPr>
          <a:lstStyle/>
          <a:p>
            <a:pPr marL="119063" indent="-119063" algn="r">
              <a:buFontTx/>
              <a:buChar char="•"/>
            </a:pPr>
            <a:r>
              <a:rPr lang="en-US" sz="1200">
                <a:solidFill>
                  <a:schemeClr val="bg2"/>
                </a:solidFill>
              </a:rPr>
              <a:t>Website, Facebook</a:t>
            </a:r>
          </a:p>
          <a:p>
            <a:pPr marL="119063" indent="-119063" algn="r">
              <a:buFontTx/>
              <a:buChar char="•"/>
            </a:pPr>
            <a:r>
              <a:rPr lang="en-US" sz="1200">
                <a:solidFill>
                  <a:schemeClr val="bg2"/>
                </a:solidFill>
              </a:rPr>
              <a:t>Print Media</a:t>
            </a:r>
          </a:p>
          <a:p>
            <a:pPr marL="119063" indent="-119063" algn="r">
              <a:buFontTx/>
              <a:buChar char="•"/>
            </a:pPr>
            <a:r>
              <a:rPr lang="en-US" sz="1200">
                <a:solidFill>
                  <a:schemeClr val="bg2"/>
                </a:solidFill>
              </a:rPr>
              <a:t>Internal </a:t>
            </a:r>
          </a:p>
          <a:p>
            <a:pPr marL="119063" indent="-119063" algn="r">
              <a:buFontTx/>
              <a:buChar char="•"/>
            </a:pPr>
            <a:r>
              <a:rPr lang="en-US" sz="1200">
                <a:solidFill>
                  <a:schemeClr val="bg2"/>
                </a:solidFill>
              </a:rPr>
              <a:t>External/PR</a:t>
            </a:r>
          </a:p>
          <a:p>
            <a:pPr marL="119063" indent="-119063" algn="r">
              <a:buFontTx/>
              <a:buChar char="•"/>
            </a:pPr>
            <a:r>
              <a:rPr lang="en-US" sz="1200">
                <a:solidFill>
                  <a:schemeClr val="bg2"/>
                </a:solidFill>
              </a:rPr>
              <a:t>Calendar of events </a:t>
            </a:r>
          </a:p>
        </p:txBody>
      </p:sp>
      <p:sp>
        <p:nvSpPr>
          <p:cNvPr id="39969" name="Line 59"/>
          <p:cNvSpPr>
            <a:spLocks noChangeShapeType="1"/>
          </p:cNvSpPr>
          <p:nvPr/>
        </p:nvSpPr>
        <p:spPr bwMode="gray">
          <a:xfrm>
            <a:off x="2925763" y="5224463"/>
            <a:ext cx="0" cy="881062"/>
          </a:xfrm>
          <a:prstGeom prst="line">
            <a:avLst/>
          </a:prstGeom>
          <a:noFill/>
          <a:ln w="9525">
            <a:solidFill>
              <a:schemeClr val="bg2"/>
            </a:solidFill>
            <a:round/>
            <a:headEnd/>
            <a:tailEnd/>
          </a:ln>
        </p:spPr>
        <p:txBody>
          <a:bodyPr/>
          <a:lstStyle/>
          <a:p>
            <a:endParaRPr lang="en-US"/>
          </a:p>
        </p:txBody>
      </p:sp>
      <p:sp>
        <p:nvSpPr>
          <p:cNvPr id="39970" name="Line 60"/>
          <p:cNvSpPr>
            <a:spLocks noChangeShapeType="1"/>
          </p:cNvSpPr>
          <p:nvPr/>
        </p:nvSpPr>
        <p:spPr bwMode="gray">
          <a:xfrm>
            <a:off x="2971800" y="5497513"/>
            <a:ext cx="685800" cy="228600"/>
          </a:xfrm>
          <a:prstGeom prst="line">
            <a:avLst/>
          </a:prstGeom>
          <a:noFill/>
          <a:ln w="9525">
            <a:solidFill>
              <a:schemeClr val="bg2"/>
            </a:solidFill>
            <a:round/>
            <a:headEnd/>
            <a:tailEnd/>
          </a:ln>
        </p:spPr>
        <p:txBody>
          <a:bodyPr/>
          <a:lstStyle/>
          <a:p>
            <a:endParaRPr lang="en-US"/>
          </a:p>
        </p:txBody>
      </p:sp>
      <p:sp>
        <p:nvSpPr>
          <p:cNvPr id="39971" name="Freeform 18"/>
          <p:cNvSpPr>
            <a:spLocks noChangeAspect="1"/>
          </p:cNvSpPr>
          <p:nvPr/>
        </p:nvSpPr>
        <p:spPr bwMode="gray">
          <a:xfrm>
            <a:off x="6248400" y="3022600"/>
            <a:ext cx="1066800" cy="1944688"/>
          </a:xfrm>
          <a:custGeom>
            <a:avLst/>
            <a:gdLst>
              <a:gd name="T0" fmla="*/ 381866 w 528"/>
              <a:gd name="T1" fmla="*/ 1770039 h 991"/>
              <a:gd name="T2" fmla="*/ 876877 w 528"/>
              <a:gd name="T3" fmla="*/ 1550256 h 991"/>
              <a:gd name="T4" fmla="*/ 1066800 w 528"/>
              <a:gd name="T5" fmla="*/ 1073405 h 991"/>
              <a:gd name="T6" fmla="*/ 1066800 w 528"/>
              <a:gd name="T7" fmla="*/ 1040045 h 991"/>
              <a:gd name="T8" fmla="*/ 1066800 w 528"/>
              <a:gd name="T9" fmla="*/ 1012572 h 991"/>
              <a:gd name="T10" fmla="*/ 1066800 w 528"/>
              <a:gd name="T11" fmla="*/ 967438 h 991"/>
              <a:gd name="T12" fmla="*/ 1066800 w 528"/>
              <a:gd name="T13" fmla="*/ 939965 h 991"/>
              <a:gd name="T14" fmla="*/ 1066800 w 528"/>
              <a:gd name="T15" fmla="*/ 885019 h 991"/>
              <a:gd name="T16" fmla="*/ 753629 w 528"/>
              <a:gd name="T17" fmla="*/ 423867 h 991"/>
              <a:gd name="T18" fmla="*/ 198005 w 528"/>
              <a:gd name="T19" fmla="*/ 121666 h 991"/>
              <a:gd name="T20" fmla="*/ 70716 w 528"/>
              <a:gd name="T21" fmla="*/ 270804 h 991"/>
              <a:gd name="T22" fmla="*/ 107084 w 528"/>
              <a:gd name="T23" fmla="*/ 270804 h 991"/>
              <a:gd name="T24" fmla="*/ 145473 w 528"/>
              <a:gd name="T25" fmla="*/ 274729 h 991"/>
              <a:gd name="T26" fmla="*/ 183861 w 528"/>
              <a:gd name="T27" fmla="*/ 280616 h 991"/>
              <a:gd name="T28" fmla="*/ 230332 w 528"/>
              <a:gd name="T29" fmla="*/ 292390 h 991"/>
              <a:gd name="T30" fmla="*/ 278823 w 528"/>
              <a:gd name="T31" fmla="*/ 304164 h 991"/>
              <a:gd name="T32" fmla="*/ 331355 w 528"/>
              <a:gd name="T33" fmla="*/ 319863 h 991"/>
              <a:gd name="T34" fmla="*/ 381866 w 528"/>
              <a:gd name="T35" fmla="*/ 341449 h 991"/>
              <a:gd name="T36" fmla="*/ 438439 w 528"/>
              <a:gd name="T37" fmla="*/ 368922 h 991"/>
              <a:gd name="T38" fmla="*/ 488950 w 528"/>
              <a:gd name="T39" fmla="*/ 402282 h 991"/>
              <a:gd name="T40" fmla="*/ 537441 w 528"/>
              <a:gd name="T41" fmla="*/ 441529 h 991"/>
              <a:gd name="T42" fmla="*/ 583911 w 528"/>
              <a:gd name="T43" fmla="*/ 486663 h 991"/>
              <a:gd name="T44" fmla="*/ 622300 w 528"/>
              <a:gd name="T45" fmla="*/ 521985 h 991"/>
              <a:gd name="T46" fmla="*/ 652607 w 528"/>
              <a:gd name="T47" fmla="*/ 559270 h 991"/>
              <a:gd name="T48" fmla="*/ 682914 w 528"/>
              <a:gd name="T49" fmla="*/ 598517 h 991"/>
              <a:gd name="T50" fmla="*/ 705139 w 528"/>
              <a:gd name="T51" fmla="*/ 639726 h 991"/>
              <a:gd name="T52" fmla="*/ 725343 w 528"/>
              <a:gd name="T53" fmla="*/ 680935 h 991"/>
              <a:gd name="T54" fmla="*/ 745548 w 528"/>
              <a:gd name="T55" fmla="*/ 726069 h 991"/>
              <a:gd name="T56" fmla="*/ 757670 w 528"/>
              <a:gd name="T57" fmla="*/ 765316 h 991"/>
              <a:gd name="T58" fmla="*/ 769793 w 528"/>
              <a:gd name="T59" fmla="*/ 808488 h 991"/>
              <a:gd name="T60" fmla="*/ 779895 w 528"/>
              <a:gd name="T61" fmla="*/ 847735 h 991"/>
              <a:gd name="T62" fmla="*/ 783936 w 528"/>
              <a:gd name="T63" fmla="*/ 885019 h 991"/>
              <a:gd name="T64" fmla="*/ 789998 w 528"/>
              <a:gd name="T65" fmla="*/ 922304 h 991"/>
              <a:gd name="T66" fmla="*/ 792018 w 528"/>
              <a:gd name="T67" fmla="*/ 957626 h 991"/>
              <a:gd name="T68" fmla="*/ 794039 w 528"/>
              <a:gd name="T69" fmla="*/ 989024 h 991"/>
              <a:gd name="T70" fmla="*/ 789998 w 528"/>
              <a:gd name="T71" fmla="*/ 1032196 h 991"/>
              <a:gd name="T72" fmla="*/ 783936 w 528"/>
              <a:gd name="T73" fmla="*/ 1063593 h 991"/>
              <a:gd name="T74" fmla="*/ 777875 w 528"/>
              <a:gd name="T75" fmla="*/ 1098916 h 991"/>
              <a:gd name="T76" fmla="*/ 767773 w 528"/>
              <a:gd name="T77" fmla="*/ 1142087 h 991"/>
              <a:gd name="T78" fmla="*/ 755650 w 528"/>
              <a:gd name="T79" fmla="*/ 1183297 h 991"/>
              <a:gd name="T80" fmla="*/ 737466 w 528"/>
              <a:gd name="T81" fmla="*/ 1230393 h 991"/>
              <a:gd name="T82" fmla="*/ 717261 w 528"/>
              <a:gd name="T83" fmla="*/ 1275527 h 991"/>
              <a:gd name="T84" fmla="*/ 695036 w 528"/>
              <a:gd name="T85" fmla="*/ 1324586 h 991"/>
              <a:gd name="T86" fmla="*/ 662709 w 528"/>
              <a:gd name="T87" fmla="*/ 1369720 h 991"/>
              <a:gd name="T88" fmla="*/ 630382 w 528"/>
              <a:gd name="T89" fmla="*/ 1414854 h 991"/>
              <a:gd name="T90" fmla="*/ 587952 w 528"/>
              <a:gd name="T91" fmla="*/ 1456063 h 991"/>
              <a:gd name="T92" fmla="*/ 561686 w 528"/>
              <a:gd name="T93" fmla="*/ 1481574 h 991"/>
              <a:gd name="T94" fmla="*/ 515216 w 528"/>
              <a:gd name="T95" fmla="*/ 1516896 h 991"/>
              <a:gd name="T96" fmla="*/ 478848 w 528"/>
              <a:gd name="T97" fmla="*/ 1546331 h 991"/>
              <a:gd name="T98" fmla="*/ 440459 w 528"/>
              <a:gd name="T99" fmla="*/ 1569879 h 991"/>
              <a:gd name="T100" fmla="*/ 398029 w 528"/>
              <a:gd name="T101" fmla="*/ 1593428 h 991"/>
              <a:gd name="T102" fmla="*/ 345498 w 528"/>
              <a:gd name="T103" fmla="*/ 1615013 h 991"/>
              <a:gd name="T104" fmla="*/ 290945 w 528"/>
              <a:gd name="T105" fmla="*/ 1636599 h 991"/>
              <a:gd name="T106" fmla="*/ 224270 w 528"/>
              <a:gd name="T107" fmla="*/ 1650336 h 991"/>
              <a:gd name="T108" fmla="*/ 155575 w 528"/>
              <a:gd name="T109" fmla="*/ 1666034 h 991"/>
              <a:gd name="T110" fmla="*/ 80818 w 528"/>
              <a:gd name="T111" fmla="*/ 1671922 h 99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8"/>
              <a:gd name="T169" fmla="*/ 0 h 991"/>
              <a:gd name="T170" fmla="*/ 528 w 528"/>
              <a:gd name="T171" fmla="*/ 991 h 99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8" h="991">
                <a:moveTo>
                  <a:pt x="32" y="852"/>
                </a:moveTo>
                <a:lnTo>
                  <a:pt x="35" y="991"/>
                </a:lnTo>
                <a:lnTo>
                  <a:pt x="79" y="990"/>
                </a:lnTo>
                <a:lnTo>
                  <a:pt x="97" y="929"/>
                </a:lnTo>
                <a:lnTo>
                  <a:pt x="189" y="902"/>
                </a:lnTo>
                <a:lnTo>
                  <a:pt x="250" y="944"/>
                </a:lnTo>
                <a:lnTo>
                  <a:pt x="318" y="904"/>
                </a:lnTo>
                <a:lnTo>
                  <a:pt x="315" y="833"/>
                </a:lnTo>
                <a:lnTo>
                  <a:pt x="365" y="780"/>
                </a:lnTo>
                <a:lnTo>
                  <a:pt x="434" y="790"/>
                </a:lnTo>
                <a:lnTo>
                  <a:pt x="482" y="715"/>
                </a:lnTo>
                <a:lnTo>
                  <a:pt x="441" y="656"/>
                </a:lnTo>
                <a:lnTo>
                  <a:pt x="468" y="560"/>
                </a:lnTo>
                <a:lnTo>
                  <a:pt x="528" y="551"/>
                </a:lnTo>
                <a:lnTo>
                  <a:pt x="528" y="547"/>
                </a:lnTo>
                <a:lnTo>
                  <a:pt x="528" y="543"/>
                </a:lnTo>
                <a:lnTo>
                  <a:pt x="528" y="541"/>
                </a:lnTo>
                <a:lnTo>
                  <a:pt x="528" y="537"/>
                </a:lnTo>
                <a:lnTo>
                  <a:pt x="528" y="534"/>
                </a:lnTo>
                <a:lnTo>
                  <a:pt x="528" y="530"/>
                </a:lnTo>
                <a:lnTo>
                  <a:pt x="528" y="528"/>
                </a:lnTo>
                <a:lnTo>
                  <a:pt x="528" y="526"/>
                </a:lnTo>
                <a:lnTo>
                  <a:pt x="528" y="522"/>
                </a:lnTo>
                <a:lnTo>
                  <a:pt x="528" y="518"/>
                </a:lnTo>
                <a:lnTo>
                  <a:pt x="528" y="516"/>
                </a:lnTo>
                <a:lnTo>
                  <a:pt x="528" y="512"/>
                </a:lnTo>
                <a:lnTo>
                  <a:pt x="528" y="506"/>
                </a:lnTo>
                <a:lnTo>
                  <a:pt x="528" y="500"/>
                </a:lnTo>
                <a:lnTo>
                  <a:pt x="528" y="497"/>
                </a:lnTo>
                <a:lnTo>
                  <a:pt x="528" y="493"/>
                </a:lnTo>
                <a:lnTo>
                  <a:pt x="528" y="491"/>
                </a:lnTo>
                <a:lnTo>
                  <a:pt x="528" y="488"/>
                </a:lnTo>
                <a:lnTo>
                  <a:pt x="528" y="485"/>
                </a:lnTo>
                <a:lnTo>
                  <a:pt x="528" y="481"/>
                </a:lnTo>
                <a:lnTo>
                  <a:pt x="528" y="479"/>
                </a:lnTo>
                <a:lnTo>
                  <a:pt x="528" y="475"/>
                </a:lnTo>
                <a:lnTo>
                  <a:pt x="528" y="469"/>
                </a:lnTo>
                <a:lnTo>
                  <a:pt x="528" y="463"/>
                </a:lnTo>
                <a:lnTo>
                  <a:pt x="528" y="457"/>
                </a:lnTo>
                <a:lnTo>
                  <a:pt x="528" y="451"/>
                </a:lnTo>
                <a:lnTo>
                  <a:pt x="467" y="433"/>
                </a:lnTo>
                <a:lnTo>
                  <a:pt x="441" y="341"/>
                </a:lnTo>
                <a:lnTo>
                  <a:pt x="483" y="280"/>
                </a:lnTo>
                <a:lnTo>
                  <a:pt x="443" y="212"/>
                </a:lnTo>
                <a:lnTo>
                  <a:pt x="373" y="216"/>
                </a:lnTo>
                <a:lnTo>
                  <a:pt x="320" y="165"/>
                </a:lnTo>
                <a:lnTo>
                  <a:pt x="328" y="96"/>
                </a:lnTo>
                <a:lnTo>
                  <a:pt x="253" y="48"/>
                </a:lnTo>
                <a:lnTo>
                  <a:pt x="195" y="90"/>
                </a:lnTo>
                <a:lnTo>
                  <a:pt x="98" y="62"/>
                </a:lnTo>
                <a:lnTo>
                  <a:pt x="89" y="3"/>
                </a:lnTo>
                <a:lnTo>
                  <a:pt x="31" y="0"/>
                </a:lnTo>
                <a:lnTo>
                  <a:pt x="0" y="64"/>
                </a:lnTo>
                <a:lnTo>
                  <a:pt x="34" y="138"/>
                </a:lnTo>
                <a:lnTo>
                  <a:pt x="35" y="138"/>
                </a:lnTo>
                <a:lnTo>
                  <a:pt x="37" y="138"/>
                </a:lnTo>
                <a:lnTo>
                  <a:pt x="40" y="138"/>
                </a:lnTo>
                <a:lnTo>
                  <a:pt x="43" y="138"/>
                </a:lnTo>
                <a:lnTo>
                  <a:pt x="48" y="138"/>
                </a:lnTo>
                <a:lnTo>
                  <a:pt x="53" y="138"/>
                </a:lnTo>
                <a:lnTo>
                  <a:pt x="59" y="139"/>
                </a:lnTo>
                <a:lnTo>
                  <a:pt x="62" y="139"/>
                </a:lnTo>
                <a:lnTo>
                  <a:pt x="65" y="139"/>
                </a:lnTo>
                <a:lnTo>
                  <a:pt x="68" y="139"/>
                </a:lnTo>
                <a:lnTo>
                  <a:pt x="72" y="140"/>
                </a:lnTo>
                <a:lnTo>
                  <a:pt x="76" y="140"/>
                </a:lnTo>
                <a:lnTo>
                  <a:pt x="79" y="141"/>
                </a:lnTo>
                <a:lnTo>
                  <a:pt x="84" y="141"/>
                </a:lnTo>
                <a:lnTo>
                  <a:pt x="88" y="143"/>
                </a:lnTo>
                <a:lnTo>
                  <a:pt x="91" y="143"/>
                </a:lnTo>
                <a:lnTo>
                  <a:pt x="96" y="144"/>
                </a:lnTo>
                <a:lnTo>
                  <a:pt x="100" y="145"/>
                </a:lnTo>
                <a:lnTo>
                  <a:pt x="106" y="146"/>
                </a:lnTo>
                <a:lnTo>
                  <a:pt x="109" y="147"/>
                </a:lnTo>
                <a:lnTo>
                  <a:pt x="114" y="149"/>
                </a:lnTo>
                <a:lnTo>
                  <a:pt x="119" y="150"/>
                </a:lnTo>
                <a:lnTo>
                  <a:pt x="123" y="151"/>
                </a:lnTo>
                <a:lnTo>
                  <a:pt x="128" y="151"/>
                </a:lnTo>
                <a:lnTo>
                  <a:pt x="133" y="152"/>
                </a:lnTo>
                <a:lnTo>
                  <a:pt x="138" y="155"/>
                </a:lnTo>
                <a:lnTo>
                  <a:pt x="144" y="156"/>
                </a:lnTo>
                <a:lnTo>
                  <a:pt x="149" y="157"/>
                </a:lnTo>
                <a:lnTo>
                  <a:pt x="153" y="159"/>
                </a:lnTo>
                <a:lnTo>
                  <a:pt x="158" y="161"/>
                </a:lnTo>
                <a:lnTo>
                  <a:pt x="164" y="163"/>
                </a:lnTo>
                <a:lnTo>
                  <a:pt x="169" y="164"/>
                </a:lnTo>
                <a:lnTo>
                  <a:pt x="174" y="167"/>
                </a:lnTo>
                <a:lnTo>
                  <a:pt x="180" y="169"/>
                </a:lnTo>
                <a:lnTo>
                  <a:pt x="185" y="171"/>
                </a:lnTo>
                <a:lnTo>
                  <a:pt x="189" y="174"/>
                </a:lnTo>
                <a:lnTo>
                  <a:pt x="195" y="176"/>
                </a:lnTo>
                <a:lnTo>
                  <a:pt x="200" y="178"/>
                </a:lnTo>
                <a:lnTo>
                  <a:pt x="206" y="182"/>
                </a:lnTo>
                <a:lnTo>
                  <a:pt x="211" y="184"/>
                </a:lnTo>
                <a:lnTo>
                  <a:pt x="217" y="188"/>
                </a:lnTo>
                <a:lnTo>
                  <a:pt x="222" y="190"/>
                </a:lnTo>
                <a:lnTo>
                  <a:pt x="226" y="194"/>
                </a:lnTo>
                <a:lnTo>
                  <a:pt x="231" y="198"/>
                </a:lnTo>
                <a:lnTo>
                  <a:pt x="237" y="200"/>
                </a:lnTo>
                <a:lnTo>
                  <a:pt x="242" y="205"/>
                </a:lnTo>
                <a:lnTo>
                  <a:pt x="247" y="208"/>
                </a:lnTo>
                <a:lnTo>
                  <a:pt x="252" y="212"/>
                </a:lnTo>
                <a:lnTo>
                  <a:pt x="256" y="216"/>
                </a:lnTo>
                <a:lnTo>
                  <a:pt x="261" y="220"/>
                </a:lnTo>
                <a:lnTo>
                  <a:pt x="266" y="225"/>
                </a:lnTo>
                <a:lnTo>
                  <a:pt x="271" y="229"/>
                </a:lnTo>
                <a:lnTo>
                  <a:pt x="276" y="234"/>
                </a:lnTo>
                <a:lnTo>
                  <a:pt x="280" y="238"/>
                </a:lnTo>
                <a:lnTo>
                  <a:pt x="285" y="244"/>
                </a:lnTo>
                <a:lnTo>
                  <a:pt x="289" y="248"/>
                </a:lnTo>
                <a:lnTo>
                  <a:pt x="292" y="250"/>
                </a:lnTo>
                <a:lnTo>
                  <a:pt x="297" y="254"/>
                </a:lnTo>
                <a:lnTo>
                  <a:pt x="301" y="259"/>
                </a:lnTo>
                <a:lnTo>
                  <a:pt x="304" y="261"/>
                </a:lnTo>
                <a:lnTo>
                  <a:pt x="308" y="266"/>
                </a:lnTo>
                <a:lnTo>
                  <a:pt x="312" y="269"/>
                </a:lnTo>
                <a:lnTo>
                  <a:pt x="315" y="273"/>
                </a:lnTo>
                <a:lnTo>
                  <a:pt x="318" y="277"/>
                </a:lnTo>
                <a:lnTo>
                  <a:pt x="320" y="281"/>
                </a:lnTo>
                <a:lnTo>
                  <a:pt x="323" y="285"/>
                </a:lnTo>
                <a:lnTo>
                  <a:pt x="327" y="289"/>
                </a:lnTo>
                <a:lnTo>
                  <a:pt x="329" y="293"/>
                </a:lnTo>
                <a:lnTo>
                  <a:pt x="332" y="297"/>
                </a:lnTo>
                <a:lnTo>
                  <a:pt x="335" y="301"/>
                </a:lnTo>
                <a:lnTo>
                  <a:pt x="338" y="305"/>
                </a:lnTo>
                <a:lnTo>
                  <a:pt x="340" y="309"/>
                </a:lnTo>
                <a:lnTo>
                  <a:pt x="343" y="314"/>
                </a:lnTo>
                <a:lnTo>
                  <a:pt x="345" y="317"/>
                </a:lnTo>
                <a:lnTo>
                  <a:pt x="347" y="322"/>
                </a:lnTo>
                <a:lnTo>
                  <a:pt x="349" y="326"/>
                </a:lnTo>
                <a:lnTo>
                  <a:pt x="351" y="330"/>
                </a:lnTo>
                <a:lnTo>
                  <a:pt x="353" y="334"/>
                </a:lnTo>
                <a:lnTo>
                  <a:pt x="356" y="339"/>
                </a:lnTo>
                <a:lnTo>
                  <a:pt x="358" y="344"/>
                </a:lnTo>
                <a:lnTo>
                  <a:pt x="359" y="347"/>
                </a:lnTo>
                <a:lnTo>
                  <a:pt x="362" y="352"/>
                </a:lnTo>
                <a:lnTo>
                  <a:pt x="363" y="357"/>
                </a:lnTo>
                <a:lnTo>
                  <a:pt x="365" y="360"/>
                </a:lnTo>
                <a:lnTo>
                  <a:pt x="367" y="365"/>
                </a:lnTo>
                <a:lnTo>
                  <a:pt x="369" y="370"/>
                </a:lnTo>
                <a:lnTo>
                  <a:pt x="370" y="374"/>
                </a:lnTo>
                <a:lnTo>
                  <a:pt x="371" y="378"/>
                </a:lnTo>
                <a:lnTo>
                  <a:pt x="373" y="382"/>
                </a:lnTo>
                <a:lnTo>
                  <a:pt x="374" y="386"/>
                </a:lnTo>
                <a:lnTo>
                  <a:pt x="375" y="390"/>
                </a:lnTo>
                <a:lnTo>
                  <a:pt x="376" y="395"/>
                </a:lnTo>
                <a:lnTo>
                  <a:pt x="377" y="399"/>
                </a:lnTo>
                <a:lnTo>
                  <a:pt x="379" y="403"/>
                </a:lnTo>
                <a:lnTo>
                  <a:pt x="380" y="408"/>
                </a:lnTo>
                <a:lnTo>
                  <a:pt x="381" y="412"/>
                </a:lnTo>
                <a:lnTo>
                  <a:pt x="382" y="415"/>
                </a:lnTo>
                <a:lnTo>
                  <a:pt x="382" y="420"/>
                </a:lnTo>
                <a:lnTo>
                  <a:pt x="383" y="424"/>
                </a:lnTo>
                <a:lnTo>
                  <a:pt x="385" y="429"/>
                </a:lnTo>
                <a:lnTo>
                  <a:pt x="386" y="432"/>
                </a:lnTo>
                <a:lnTo>
                  <a:pt x="386" y="436"/>
                </a:lnTo>
                <a:lnTo>
                  <a:pt x="387" y="441"/>
                </a:lnTo>
                <a:lnTo>
                  <a:pt x="387" y="444"/>
                </a:lnTo>
                <a:lnTo>
                  <a:pt x="387" y="448"/>
                </a:lnTo>
                <a:lnTo>
                  <a:pt x="388" y="451"/>
                </a:lnTo>
                <a:lnTo>
                  <a:pt x="388" y="456"/>
                </a:lnTo>
                <a:lnTo>
                  <a:pt x="389" y="459"/>
                </a:lnTo>
                <a:lnTo>
                  <a:pt x="389" y="463"/>
                </a:lnTo>
                <a:lnTo>
                  <a:pt x="391" y="467"/>
                </a:lnTo>
                <a:lnTo>
                  <a:pt x="391" y="470"/>
                </a:lnTo>
                <a:lnTo>
                  <a:pt x="391" y="474"/>
                </a:lnTo>
                <a:lnTo>
                  <a:pt x="392" y="478"/>
                </a:lnTo>
                <a:lnTo>
                  <a:pt x="392" y="481"/>
                </a:lnTo>
                <a:lnTo>
                  <a:pt x="392" y="485"/>
                </a:lnTo>
                <a:lnTo>
                  <a:pt x="392" y="488"/>
                </a:lnTo>
                <a:lnTo>
                  <a:pt x="393" y="492"/>
                </a:lnTo>
                <a:lnTo>
                  <a:pt x="393" y="496"/>
                </a:lnTo>
                <a:lnTo>
                  <a:pt x="394" y="499"/>
                </a:lnTo>
                <a:lnTo>
                  <a:pt x="393" y="500"/>
                </a:lnTo>
                <a:lnTo>
                  <a:pt x="393" y="504"/>
                </a:lnTo>
                <a:lnTo>
                  <a:pt x="393" y="508"/>
                </a:lnTo>
                <a:lnTo>
                  <a:pt x="393" y="512"/>
                </a:lnTo>
                <a:lnTo>
                  <a:pt x="392" y="517"/>
                </a:lnTo>
                <a:lnTo>
                  <a:pt x="391" y="523"/>
                </a:lnTo>
                <a:lnTo>
                  <a:pt x="391" y="526"/>
                </a:lnTo>
                <a:lnTo>
                  <a:pt x="391" y="529"/>
                </a:lnTo>
                <a:lnTo>
                  <a:pt x="389" y="532"/>
                </a:lnTo>
                <a:lnTo>
                  <a:pt x="389" y="535"/>
                </a:lnTo>
                <a:lnTo>
                  <a:pt x="388" y="539"/>
                </a:lnTo>
                <a:lnTo>
                  <a:pt x="388" y="542"/>
                </a:lnTo>
                <a:lnTo>
                  <a:pt x="387" y="545"/>
                </a:lnTo>
                <a:lnTo>
                  <a:pt x="387" y="549"/>
                </a:lnTo>
                <a:lnTo>
                  <a:pt x="386" y="553"/>
                </a:lnTo>
                <a:lnTo>
                  <a:pt x="386" y="557"/>
                </a:lnTo>
                <a:lnTo>
                  <a:pt x="385" y="560"/>
                </a:lnTo>
                <a:lnTo>
                  <a:pt x="385" y="565"/>
                </a:lnTo>
                <a:lnTo>
                  <a:pt x="383" y="569"/>
                </a:lnTo>
                <a:lnTo>
                  <a:pt x="382" y="573"/>
                </a:lnTo>
                <a:lnTo>
                  <a:pt x="381" y="577"/>
                </a:lnTo>
                <a:lnTo>
                  <a:pt x="380" y="582"/>
                </a:lnTo>
                <a:lnTo>
                  <a:pt x="379" y="585"/>
                </a:lnTo>
                <a:lnTo>
                  <a:pt x="377" y="590"/>
                </a:lnTo>
                <a:lnTo>
                  <a:pt x="376" y="595"/>
                </a:lnTo>
                <a:lnTo>
                  <a:pt x="375" y="600"/>
                </a:lnTo>
                <a:lnTo>
                  <a:pt x="374" y="603"/>
                </a:lnTo>
                <a:lnTo>
                  <a:pt x="373" y="608"/>
                </a:lnTo>
                <a:lnTo>
                  <a:pt x="370" y="613"/>
                </a:lnTo>
                <a:lnTo>
                  <a:pt x="369" y="618"/>
                </a:lnTo>
                <a:lnTo>
                  <a:pt x="367" y="622"/>
                </a:lnTo>
                <a:lnTo>
                  <a:pt x="365" y="627"/>
                </a:lnTo>
                <a:lnTo>
                  <a:pt x="363" y="631"/>
                </a:lnTo>
                <a:lnTo>
                  <a:pt x="362" y="637"/>
                </a:lnTo>
                <a:lnTo>
                  <a:pt x="359" y="642"/>
                </a:lnTo>
                <a:lnTo>
                  <a:pt x="357" y="645"/>
                </a:lnTo>
                <a:lnTo>
                  <a:pt x="355" y="650"/>
                </a:lnTo>
                <a:lnTo>
                  <a:pt x="353" y="655"/>
                </a:lnTo>
                <a:lnTo>
                  <a:pt x="351" y="660"/>
                </a:lnTo>
                <a:lnTo>
                  <a:pt x="349" y="664"/>
                </a:lnTo>
                <a:lnTo>
                  <a:pt x="346" y="669"/>
                </a:lnTo>
                <a:lnTo>
                  <a:pt x="344" y="675"/>
                </a:lnTo>
                <a:lnTo>
                  <a:pt x="340" y="679"/>
                </a:lnTo>
                <a:lnTo>
                  <a:pt x="338" y="683"/>
                </a:lnTo>
                <a:lnTo>
                  <a:pt x="334" y="688"/>
                </a:lnTo>
                <a:lnTo>
                  <a:pt x="332" y="693"/>
                </a:lnTo>
                <a:lnTo>
                  <a:pt x="328" y="698"/>
                </a:lnTo>
                <a:lnTo>
                  <a:pt x="325" y="703"/>
                </a:lnTo>
                <a:lnTo>
                  <a:pt x="321" y="706"/>
                </a:lnTo>
                <a:lnTo>
                  <a:pt x="319" y="712"/>
                </a:lnTo>
                <a:lnTo>
                  <a:pt x="315" y="716"/>
                </a:lnTo>
                <a:lnTo>
                  <a:pt x="312" y="721"/>
                </a:lnTo>
                <a:lnTo>
                  <a:pt x="307" y="725"/>
                </a:lnTo>
                <a:lnTo>
                  <a:pt x="303" y="729"/>
                </a:lnTo>
                <a:lnTo>
                  <a:pt x="300" y="734"/>
                </a:lnTo>
                <a:lnTo>
                  <a:pt x="295" y="739"/>
                </a:lnTo>
                <a:lnTo>
                  <a:pt x="291" y="742"/>
                </a:lnTo>
                <a:lnTo>
                  <a:pt x="288" y="747"/>
                </a:lnTo>
                <a:lnTo>
                  <a:pt x="285" y="747"/>
                </a:lnTo>
                <a:lnTo>
                  <a:pt x="283" y="751"/>
                </a:lnTo>
                <a:lnTo>
                  <a:pt x="280" y="752"/>
                </a:lnTo>
                <a:lnTo>
                  <a:pt x="278" y="755"/>
                </a:lnTo>
                <a:lnTo>
                  <a:pt x="274" y="759"/>
                </a:lnTo>
                <a:lnTo>
                  <a:pt x="271" y="762"/>
                </a:lnTo>
                <a:lnTo>
                  <a:pt x="266" y="765"/>
                </a:lnTo>
                <a:lnTo>
                  <a:pt x="261" y="770"/>
                </a:lnTo>
                <a:lnTo>
                  <a:pt x="255" y="773"/>
                </a:lnTo>
                <a:lnTo>
                  <a:pt x="250" y="778"/>
                </a:lnTo>
                <a:lnTo>
                  <a:pt x="247" y="780"/>
                </a:lnTo>
                <a:lnTo>
                  <a:pt x="243" y="783"/>
                </a:lnTo>
                <a:lnTo>
                  <a:pt x="241" y="785"/>
                </a:lnTo>
                <a:lnTo>
                  <a:pt x="237" y="788"/>
                </a:lnTo>
                <a:lnTo>
                  <a:pt x="234" y="790"/>
                </a:lnTo>
                <a:lnTo>
                  <a:pt x="230" y="792"/>
                </a:lnTo>
                <a:lnTo>
                  <a:pt x="226" y="795"/>
                </a:lnTo>
                <a:lnTo>
                  <a:pt x="223" y="798"/>
                </a:lnTo>
                <a:lnTo>
                  <a:pt x="218" y="800"/>
                </a:lnTo>
                <a:lnTo>
                  <a:pt x="214" y="802"/>
                </a:lnTo>
                <a:lnTo>
                  <a:pt x="210" y="804"/>
                </a:lnTo>
                <a:lnTo>
                  <a:pt x="206" y="807"/>
                </a:lnTo>
                <a:lnTo>
                  <a:pt x="201" y="809"/>
                </a:lnTo>
                <a:lnTo>
                  <a:pt x="197" y="812"/>
                </a:lnTo>
                <a:lnTo>
                  <a:pt x="192" y="814"/>
                </a:lnTo>
                <a:lnTo>
                  <a:pt x="187" y="816"/>
                </a:lnTo>
                <a:lnTo>
                  <a:pt x="182" y="819"/>
                </a:lnTo>
                <a:lnTo>
                  <a:pt x="176" y="821"/>
                </a:lnTo>
                <a:lnTo>
                  <a:pt x="171" y="823"/>
                </a:lnTo>
                <a:lnTo>
                  <a:pt x="167" y="825"/>
                </a:lnTo>
                <a:lnTo>
                  <a:pt x="161" y="827"/>
                </a:lnTo>
                <a:lnTo>
                  <a:pt x="155" y="829"/>
                </a:lnTo>
                <a:lnTo>
                  <a:pt x="149" y="832"/>
                </a:lnTo>
                <a:lnTo>
                  <a:pt x="144" y="834"/>
                </a:lnTo>
                <a:lnTo>
                  <a:pt x="137" y="835"/>
                </a:lnTo>
                <a:lnTo>
                  <a:pt x="131" y="838"/>
                </a:lnTo>
                <a:lnTo>
                  <a:pt x="125" y="839"/>
                </a:lnTo>
                <a:lnTo>
                  <a:pt x="119" y="840"/>
                </a:lnTo>
                <a:lnTo>
                  <a:pt x="111" y="841"/>
                </a:lnTo>
                <a:lnTo>
                  <a:pt x="104" y="844"/>
                </a:lnTo>
                <a:lnTo>
                  <a:pt x="98" y="845"/>
                </a:lnTo>
                <a:lnTo>
                  <a:pt x="91" y="846"/>
                </a:lnTo>
                <a:lnTo>
                  <a:pt x="84" y="847"/>
                </a:lnTo>
                <a:lnTo>
                  <a:pt x="77" y="849"/>
                </a:lnTo>
                <a:lnTo>
                  <a:pt x="70" y="850"/>
                </a:lnTo>
                <a:lnTo>
                  <a:pt x="62" y="850"/>
                </a:lnTo>
                <a:lnTo>
                  <a:pt x="54" y="851"/>
                </a:lnTo>
                <a:lnTo>
                  <a:pt x="47" y="851"/>
                </a:lnTo>
                <a:lnTo>
                  <a:pt x="40" y="852"/>
                </a:lnTo>
                <a:lnTo>
                  <a:pt x="32" y="852"/>
                </a:lnTo>
                <a:close/>
              </a:path>
            </a:pathLst>
          </a:custGeom>
          <a:solidFill>
            <a:srgbClr val="EAEAEA"/>
          </a:solidFill>
          <a:ln w="9525">
            <a:noFill/>
            <a:round/>
            <a:headEnd/>
            <a:tailEnd/>
          </a:ln>
        </p:spPr>
        <p:txBody>
          <a:bodyPr/>
          <a:lstStyle/>
          <a:p>
            <a:endParaRPr lang="en-US"/>
          </a:p>
        </p:txBody>
      </p:sp>
      <p:sp>
        <p:nvSpPr>
          <p:cNvPr id="39972" name="Freeform 19"/>
          <p:cNvSpPr>
            <a:spLocks noChangeAspect="1"/>
          </p:cNvSpPr>
          <p:nvPr/>
        </p:nvSpPr>
        <p:spPr bwMode="gray">
          <a:xfrm>
            <a:off x="5319713" y="3022600"/>
            <a:ext cx="1052512" cy="1949450"/>
          </a:xfrm>
          <a:custGeom>
            <a:avLst/>
            <a:gdLst>
              <a:gd name="T0" fmla="*/ 686246 w 523"/>
              <a:gd name="T1" fmla="*/ 174900 h 992"/>
              <a:gd name="T2" fmla="*/ 193195 w 523"/>
              <a:gd name="T3" fmla="*/ 394999 h 992"/>
              <a:gd name="T4" fmla="*/ 2012 w 523"/>
              <a:gd name="T5" fmla="*/ 874501 h 992"/>
              <a:gd name="T6" fmla="*/ 0 w 523"/>
              <a:gd name="T7" fmla="*/ 931491 h 992"/>
              <a:gd name="T8" fmla="*/ 0 w 523"/>
              <a:gd name="T9" fmla="*/ 964899 h 992"/>
              <a:gd name="T10" fmla="*/ 0 w 523"/>
              <a:gd name="T11" fmla="*/ 996342 h 992"/>
              <a:gd name="T12" fmla="*/ 0 w 523"/>
              <a:gd name="T13" fmla="*/ 1029750 h 992"/>
              <a:gd name="T14" fmla="*/ 4025 w 523"/>
              <a:gd name="T15" fmla="*/ 1065123 h 992"/>
              <a:gd name="T16" fmla="*/ 317967 w 523"/>
              <a:gd name="T17" fmla="*/ 1526938 h 992"/>
              <a:gd name="T18" fmla="*/ 867366 w 523"/>
              <a:gd name="T19" fmla="*/ 1829575 h 992"/>
              <a:gd name="T20" fmla="*/ 994151 w 523"/>
              <a:gd name="T21" fmla="*/ 1676291 h 992"/>
              <a:gd name="T22" fmla="*/ 963964 w 523"/>
              <a:gd name="T23" fmla="*/ 1674326 h 992"/>
              <a:gd name="T24" fmla="*/ 923715 w 523"/>
              <a:gd name="T25" fmla="*/ 1672361 h 992"/>
              <a:gd name="T26" fmla="*/ 887491 w 523"/>
              <a:gd name="T27" fmla="*/ 1666465 h 992"/>
              <a:gd name="T28" fmla="*/ 843217 w 523"/>
              <a:gd name="T29" fmla="*/ 1654674 h 992"/>
              <a:gd name="T30" fmla="*/ 794918 w 523"/>
              <a:gd name="T31" fmla="*/ 1646814 h 992"/>
              <a:gd name="T32" fmla="*/ 742594 w 523"/>
              <a:gd name="T33" fmla="*/ 1629127 h 992"/>
              <a:gd name="T34" fmla="*/ 692283 w 523"/>
              <a:gd name="T35" fmla="*/ 1611441 h 992"/>
              <a:gd name="T36" fmla="*/ 637947 w 523"/>
              <a:gd name="T37" fmla="*/ 1585893 h 992"/>
              <a:gd name="T38" fmla="*/ 587636 w 523"/>
              <a:gd name="T39" fmla="*/ 1552485 h 992"/>
              <a:gd name="T40" fmla="*/ 537324 w 523"/>
              <a:gd name="T41" fmla="*/ 1517112 h 992"/>
              <a:gd name="T42" fmla="*/ 493050 w 523"/>
              <a:gd name="T43" fmla="*/ 1471913 h 992"/>
              <a:gd name="T44" fmla="*/ 464876 w 523"/>
              <a:gd name="T45" fmla="*/ 1446366 h 992"/>
              <a:gd name="T46" fmla="*/ 426640 w 523"/>
              <a:gd name="T47" fmla="*/ 1401167 h 992"/>
              <a:gd name="T48" fmla="*/ 402490 w 523"/>
              <a:gd name="T49" fmla="*/ 1367759 h 992"/>
              <a:gd name="T50" fmla="*/ 378341 w 523"/>
              <a:gd name="T51" fmla="*/ 1330421 h 992"/>
              <a:gd name="T52" fmla="*/ 354191 w 523"/>
              <a:gd name="T53" fmla="*/ 1283257 h 992"/>
              <a:gd name="T54" fmla="*/ 332054 w 523"/>
              <a:gd name="T55" fmla="*/ 1234128 h 992"/>
              <a:gd name="T56" fmla="*/ 309917 w 523"/>
              <a:gd name="T57" fmla="*/ 1179103 h 992"/>
              <a:gd name="T58" fmla="*/ 293818 w 523"/>
              <a:gd name="T59" fmla="*/ 1114252 h 992"/>
              <a:gd name="T60" fmla="*/ 281743 w 523"/>
              <a:gd name="T61" fmla="*/ 1043506 h 992"/>
              <a:gd name="T62" fmla="*/ 277718 w 523"/>
              <a:gd name="T63" fmla="*/ 970795 h 992"/>
              <a:gd name="T64" fmla="*/ 277718 w 523"/>
              <a:gd name="T65" fmla="*/ 935422 h 992"/>
              <a:gd name="T66" fmla="*/ 283756 w 523"/>
              <a:gd name="T67" fmla="*/ 888257 h 992"/>
              <a:gd name="T68" fmla="*/ 289793 w 523"/>
              <a:gd name="T69" fmla="*/ 850919 h 992"/>
              <a:gd name="T70" fmla="*/ 297843 w 523"/>
              <a:gd name="T71" fmla="*/ 811616 h 992"/>
              <a:gd name="T72" fmla="*/ 309917 w 523"/>
              <a:gd name="T73" fmla="*/ 766417 h 992"/>
              <a:gd name="T74" fmla="*/ 324005 w 523"/>
              <a:gd name="T75" fmla="*/ 719253 h 992"/>
              <a:gd name="T76" fmla="*/ 346142 w 523"/>
              <a:gd name="T77" fmla="*/ 670124 h 992"/>
              <a:gd name="T78" fmla="*/ 372303 w 523"/>
              <a:gd name="T79" fmla="*/ 622959 h 992"/>
              <a:gd name="T80" fmla="*/ 402490 w 523"/>
              <a:gd name="T81" fmla="*/ 573830 h 992"/>
              <a:gd name="T82" fmla="*/ 436702 w 523"/>
              <a:gd name="T83" fmla="*/ 528631 h 992"/>
              <a:gd name="T84" fmla="*/ 478963 w 523"/>
              <a:gd name="T85" fmla="*/ 487363 h 992"/>
              <a:gd name="T86" fmla="*/ 507138 w 523"/>
              <a:gd name="T87" fmla="*/ 461815 h 992"/>
              <a:gd name="T88" fmla="*/ 549399 w 523"/>
              <a:gd name="T89" fmla="*/ 422512 h 992"/>
              <a:gd name="T90" fmla="*/ 587636 w 523"/>
              <a:gd name="T91" fmla="*/ 394999 h 992"/>
              <a:gd name="T92" fmla="*/ 623860 w 523"/>
              <a:gd name="T93" fmla="*/ 371417 h 992"/>
              <a:gd name="T94" fmla="*/ 670146 w 523"/>
              <a:gd name="T95" fmla="*/ 347835 h 992"/>
              <a:gd name="T96" fmla="*/ 720457 w 523"/>
              <a:gd name="T97" fmla="*/ 324253 h 992"/>
              <a:gd name="T98" fmla="*/ 778819 w 523"/>
              <a:gd name="T99" fmla="*/ 308532 h 992"/>
              <a:gd name="T100" fmla="*/ 841204 w 523"/>
              <a:gd name="T101" fmla="*/ 288880 h 992"/>
              <a:gd name="T102" fmla="*/ 911640 w 523"/>
              <a:gd name="T103" fmla="*/ 277089 h 992"/>
              <a:gd name="T104" fmla="*/ 988113 w 523"/>
              <a:gd name="T105" fmla="*/ 273159 h 99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23"/>
              <a:gd name="T160" fmla="*/ 0 h 992"/>
              <a:gd name="T161" fmla="*/ 523 w 523"/>
              <a:gd name="T162" fmla="*/ 992 h 99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23" h="992">
                <a:moveTo>
                  <a:pt x="500" y="139"/>
                </a:moveTo>
                <a:lnTo>
                  <a:pt x="497" y="0"/>
                </a:lnTo>
                <a:lnTo>
                  <a:pt x="453" y="1"/>
                </a:lnTo>
                <a:lnTo>
                  <a:pt x="435" y="63"/>
                </a:lnTo>
                <a:lnTo>
                  <a:pt x="341" y="89"/>
                </a:lnTo>
                <a:lnTo>
                  <a:pt x="281" y="48"/>
                </a:lnTo>
                <a:lnTo>
                  <a:pt x="213" y="86"/>
                </a:lnTo>
                <a:lnTo>
                  <a:pt x="217" y="158"/>
                </a:lnTo>
                <a:lnTo>
                  <a:pt x="166" y="212"/>
                </a:lnTo>
                <a:lnTo>
                  <a:pt x="96" y="201"/>
                </a:lnTo>
                <a:lnTo>
                  <a:pt x="49" y="276"/>
                </a:lnTo>
                <a:lnTo>
                  <a:pt x="91" y="335"/>
                </a:lnTo>
                <a:lnTo>
                  <a:pt x="63" y="424"/>
                </a:lnTo>
                <a:lnTo>
                  <a:pt x="2" y="440"/>
                </a:lnTo>
                <a:lnTo>
                  <a:pt x="1" y="445"/>
                </a:lnTo>
                <a:lnTo>
                  <a:pt x="1" y="450"/>
                </a:lnTo>
                <a:lnTo>
                  <a:pt x="0" y="456"/>
                </a:lnTo>
                <a:lnTo>
                  <a:pt x="0" y="462"/>
                </a:lnTo>
                <a:lnTo>
                  <a:pt x="0" y="468"/>
                </a:lnTo>
                <a:lnTo>
                  <a:pt x="0" y="474"/>
                </a:lnTo>
                <a:lnTo>
                  <a:pt x="0" y="477"/>
                </a:lnTo>
                <a:lnTo>
                  <a:pt x="0" y="481"/>
                </a:lnTo>
                <a:lnTo>
                  <a:pt x="0" y="483"/>
                </a:lnTo>
                <a:lnTo>
                  <a:pt x="0" y="487"/>
                </a:lnTo>
                <a:lnTo>
                  <a:pt x="0" y="491"/>
                </a:lnTo>
                <a:lnTo>
                  <a:pt x="0" y="494"/>
                </a:lnTo>
                <a:lnTo>
                  <a:pt x="0" y="497"/>
                </a:lnTo>
                <a:lnTo>
                  <a:pt x="0" y="500"/>
                </a:lnTo>
                <a:lnTo>
                  <a:pt x="0" y="504"/>
                </a:lnTo>
                <a:lnTo>
                  <a:pt x="0" y="507"/>
                </a:lnTo>
                <a:lnTo>
                  <a:pt x="0" y="511"/>
                </a:lnTo>
                <a:lnTo>
                  <a:pt x="0" y="515"/>
                </a:lnTo>
                <a:lnTo>
                  <a:pt x="0" y="518"/>
                </a:lnTo>
                <a:lnTo>
                  <a:pt x="0" y="521"/>
                </a:lnTo>
                <a:lnTo>
                  <a:pt x="0" y="524"/>
                </a:lnTo>
                <a:lnTo>
                  <a:pt x="1" y="528"/>
                </a:lnTo>
                <a:lnTo>
                  <a:pt x="1" y="531"/>
                </a:lnTo>
                <a:lnTo>
                  <a:pt x="1" y="535"/>
                </a:lnTo>
                <a:lnTo>
                  <a:pt x="2" y="538"/>
                </a:lnTo>
                <a:lnTo>
                  <a:pt x="2" y="542"/>
                </a:lnTo>
                <a:lnTo>
                  <a:pt x="63" y="559"/>
                </a:lnTo>
                <a:lnTo>
                  <a:pt x="88" y="652"/>
                </a:lnTo>
                <a:lnTo>
                  <a:pt x="48" y="711"/>
                </a:lnTo>
                <a:lnTo>
                  <a:pt x="86" y="780"/>
                </a:lnTo>
                <a:lnTo>
                  <a:pt x="158" y="777"/>
                </a:lnTo>
                <a:lnTo>
                  <a:pt x="212" y="826"/>
                </a:lnTo>
                <a:lnTo>
                  <a:pt x="201" y="897"/>
                </a:lnTo>
                <a:lnTo>
                  <a:pt x="278" y="944"/>
                </a:lnTo>
                <a:lnTo>
                  <a:pt x="334" y="903"/>
                </a:lnTo>
                <a:lnTo>
                  <a:pt x="431" y="931"/>
                </a:lnTo>
                <a:lnTo>
                  <a:pt x="442" y="988"/>
                </a:lnTo>
                <a:lnTo>
                  <a:pt x="497" y="992"/>
                </a:lnTo>
                <a:lnTo>
                  <a:pt x="523" y="935"/>
                </a:lnTo>
                <a:lnTo>
                  <a:pt x="496" y="853"/>
                </a:lnTo>
                <a:lnTo>
                  <a:pt x="494" y="853"/>
                </a:lnTo>
                <a:lnTo>
                  <a:pt x="493" y="853"/>
                </a:lnTo>
                <a:lnTo>
                  <a:pt x="491" y="853"/>
                </a:lnTo>
                <a:lnTo>
                  <a:pt x="488" y="853"/>
                </a:lnTo>
                <a:lnTo>
                  <a:pt x="484" y="852"/>
                </a:lnTo>
                <a:lnTo>
                  <a:pt x="479" y="852"/>
                </a:lnTo>
                <a:lnTo>
                  <a:pt x="474" y="852"/>
                </a:lnTo>
                <a:lnTo>
                  <a:pt x="469" y="852"/>
                </a:lnTo>
                <a:lnTo>
                  <a:pt x="466" y="851"/>
                </a:lnTo>
                <a:lnTo>
                  <a:pt x="462" y="851"/>
                </a:lnTo>
                <a:lnTo>
                  <a:pt x="459" y="851"/>
                </a:lnTo>
                <a:lnTo>
                  <a:pt x="455" y="850"/>
                </a:lnTo>
                <a:lnTo>
                  <a:pt x="451" y="850"/>
                </a:lnTo>
                <a:lnTo>
                  <a:pt x="448" y="848"/>
                </a:lnTo>
                <a:lnTo>
                  <a:pt x="444" y="848"/>
                </a:lnTo>
                <a:lnTo>
                  <a:pt x="441" y="848"/>
                </a:lnTo>
                <a:lnTo>
                  <a:pt x="436" y="847"/>
                </a:lnTo>
                <a:lnTo>
                  <a:pt x="432" y="846"/>
                </a:lnTo>
                <a:lnTo>
                  <a:pt x="427" y="845"/>
                </a:lnTo>
                <a:lnTo>
                  <a:pt x="424" y="844"/>
                </a:lnTo>
                <a:lnTo>
                  <a:pt x="419" y="842"/>
                </a:lnTo>
                <a:lnTo>
                  <a:pt x="414" y="842"/>
                </a:lnTo>
                <a:lnTo>
                  <a:pt x="409" y="841"/>
                </a:lnTo>
                <a:lnTo>
                  <a:pt x="405" y="840"/>
                </a:lnTo>
                <a:lnTo>
                  <a:pt x="400" y="839"/>
                </a:lnTo>
                <a:lnTo>
                  <a:pt x="395" y="838"/>
                </a:lnTo>
                <a:lnTo>
                  <a:pt x="390" y="836"/>
                </a:lnTo>
                <a:lnTo>
                  <a:pt x="384" y="835"/>
                </a:lnTo>
                <a:lnTo>
                  <a:pt x="379" y="833"/>
                </a:lnTo>
                <a:lnTo>
                  <a:pt x="375" y="832"/>
                </a:lnTo>
                <a:lnTo>
                  <a:pt x="369" y="829"/>
                </a:lnTo>
                <a:lnTo>
                  <a:pt x="365" y="828"/>
                </a:lnTo>
                <a:lnTo>
                  <a:pt x="359" y="826"/>
                </a:lnTo>
                <a:lnTo>
                  <a:pt x="354" y="823"/>
                </a:lnTo>
                <a:lnTo>
                  <a:pt x="348" y="821"/>
                </a:lnTo>
                <a:lnTo>
                  <a:pt x="344" y="820"/>
                </a:lnTo>
                <a:lnTo>
                  <a:pt x="339" y="816"/>
                </a:lnTo>
                <a:lnTo>
                  <a:pt x="334" y="814"/>
                </a:lnTo>
                <a:lnTo>
                  <a:pt x="328" y="813"/>
                </a:lnTo>
                <a:lnTo>
                  <a:pt x="323" y="810"/>
                </a:lnTo>
                <a:lnTo>
                  <a:pt x="317" y="807"/>
                </a:lnTo>
                <a:lnTo>
                  <a:pt x="312" y="803"/>
                </a:lnTo>
                <a:lnTo>
                  <a:pt x="308" y="801"/>
                </a:lnTo>
                <a:lnTo>
                  <a:pt x="302" y="797"/>
                </a:lnTo>
                <a:lnTo>
                  <a:pt x="297" y="793"/>
                </a:lnTo>
                <a:lnTo>
                  <a:pt x="292" y="790"/>
                </a:lnTo>
                <a:lnTo>
                  <a:pt x="286" y="787"/>
                </a:lnTo>
                <a:lnTo>
                  <a:pt x="282" y="784"/>
                </a:lnTo>
                <a:lnTo>
                  <a:pt x="276" y="779"/>
                </a:lnTo>
                <a:lnTo>
                  <a:pt x="272" y="775"/>
                </a:lnTo>
                <a:lnTo>
                  <a:pt x="267" y="772"/>
                </a:lnTo>
                <a:lnTo>
                  <a:pt x="262" y="767"/>
                </a:lnTo>
                <a:lnTo>
                  <a:pt x="257" y="763"/>
                </a:lnTo>
                <a:lnTo>
                  <a:pt x="254" y="759"/>
                </a:lnTo>
                <a:lnTo>
                  <a:pt x="249" y="754"/>
                </a:lnTo>
                <a:lnTo>
                  <a:pt x="245" y="749"/>
                </a:lnTo>
                <a:lnTo>
                  <a:pt x="243" y="748"/>
                </a:lnTo>
                <a:lnTo>
                  <a:pt x="239" y="744"/>
                </a:lnTo>
                <a:lnTo>
                  <a:pt x="237" y="742"/>
                </a:lnTo>
                <a:lnTo>
                  <a:pt x="235" y="740"/>
                </a:lnTo>
                <a:lnTo>
                  <a:pt x="231" y="736"/>
                </a:lnTo>
                <a:lnTo>
                  <a:pt x="229" y="734"/>
                </a:lnTo>
                <a:lnTo>
                  <a:pt x="224" y="729"/>
                </a:lnTo>
                <a:lnTo>
                  <a:pt x="220" y="724"/>
                </a:lnTo>
                <a:lnTo>
                  <a:pt x="215" y="718"/>
                </a:lnTo>
                <a:lnTo>
                  <a:pt x="212" y="713"/>
                </a:lnTo>
                <a:lnTo>
                  <a:pt x="209" y="710"/>
                </a:lnTo>
                <a:lnTo>
                  <a:pt x="207" y="706"/>
                </a:lnTo>
                <a:lnTo>
                  <a:pt x="205" y="704"/>
                </a:lnTo>
                <a:lnTo>
                  <a:pt x="202" y="700"/>
                </a:lnTo>
                <a:lnTo>
                  <a:pt x="200" y="696"/>
                </a:lnTo>
                <a:lnTo>
                  <a:pt x="197" y="693"/>
                </a:lnTo>
                <a:lnTo>
                  <a:pt x="195" y="689"/>
                </a:lnTo>
                <a:lnTo>
                  <a:pt x="193" y="686"/>
                </a:lnTo>
                <a:lnTo>
                  <a:pt x="190" y="681"/>
                </a:lnTo>
                <a:lnTo>
                  <a:pt x="188" y="677"/>
                </a:lnTo>
                <a:lnTo>
                  <a:pt x="185" y="673"/>
                </a:lnTo>
                <a:lnTo>
                  <a:pt x="183" y="668"/>
                </a:lnTo>
                <a:lnTo>
                  <a:pt x="179" y="664"/>
                </a:lnTo>
                <a:lnTo>
                  <a:pt x="178" y="659"/>
                </a:lnTo>
                <a:lnTo>
                  <a:pt x="176" y="653"/>
                </a:lnTo>
                <a:lnTo>
                  <a:pt x="173" y="650"/>
                </a:lnTo>
                <a:lnTo>
                  <a:pt x="171" y="644"/>
                </a:lnTo>
                <a:lnTo>
                  <a:pt x="169" y="639"/>
                </a:lnTo>
                <a:lnTo>
                  <a:pt x="166" y="633"/>
                </a:lnTo>
                <a:lnTo>
                  <a:pt x="165" y="628"/>
                </a:lnTo>
                <a:lnTo>
                  <a:pt x="163" y="622"/>
                </a:lnTo>
                <a:lnTo>
                  <a:pt x="160" y="617"/>
                </a:lnTo>
                <a:lnTo>
                  <a:pt x="158" y="611"/>
                </a:lnTo>
                <a:lnTo>
                  <a:pt x="157" y="606"/>
                </a:lnTo>
                <a:lnTo>
                  <a:pt x="154" y="600"/>
                </a:lnTo>
                <a:lnTo>
                  <a:pt x="153" y="594"/>
                </a:lnTo>
                <a:lnTo>
                  <a:pt x="151" y="588"/>
                </a:lnTo>
                <a:lnTo>
                  <a:pt x="149" y="580"/>
                </a:lnTo>
                <a:lnTo>
                  <a:pt x="147" y="574"/>
                </a:lnTo>
                <a:lnTo>
                  <a:pt x="146" y="567"/>
                </a:lnTo>
                <a:lnTo>
                  <a:pt x="145" y="560"/>
                </a:lnTo>
                <a:lnTo>
                  <a:pt x="144" y="554"/>
                </a:lnTo>
                <a:lnTo>
                  <a:pt x="142" y="547"/>
                </a:lnTo>
                <a:lnTo>
                  <a:pt x="141" y="540"/>
                </a:lnTo>
                <a:lnTo>
                  <a:pt x="140" y="531"/>
                </a:lnTo>
                <a:lnTo>
                  <a:pt x="140" y="525"/>
                </a:lnTo>
                <a:lnTo>
                  <a:pt x="139" y="517"/>
                </a:lnTo>
                <a:lnTo>
                  <a:pt x="138" y="510"/>
                </a:lnTo>
                <a:lnTo>
                  <a:pt x="138" y="501"/>
                </a:lnTo>
                <a:lnTo>
                  <a:pt x="138" y="494"/>
                </a:lnTo>
                <a:lnTo>
                  <a:pt x="138" y="492"/>
                </a:lnTo>
                <a:lnTo>
                  <a:pt x="138" y="489"/>
                </a:lnTo>
                <a:lnTo>
                  <a:pt x="138" y="485"/>
                </a:lnTo>
                <a:lnTo>
                  <a:pt x="138" y="482"/>
                </a:lnTo>
                <a:lnTo>
                  <a:pt x="138" y="476"/>
                </a:lnTo>
                <a:lnTo>
                  <a:pt x="139" y="471"/>
                </a:lnTo>
                <a:lnTo>
                  <a:pt x="139" y="465"/>
                </a:lnTo>
                <a:lnTo>
                  <a:pt x="140" y="460"/>
                </a:lnTo>
                <a:lnTo>
                  <a:pt x="140" y="456"/>
                </a:lnTo>
                <a:lnTo>
                  <a:pt x="141" y="452"/>
                </a:lnTo>
                <a:lnTo>
                  <a:pt x="141" y="449"/>
                </a:lnTo>
                <a:lnTo>
                  <a:pt x="142" y="445"/>
                </a:lnTo>
                <a:lnTo>
                  <a:pt x="142" y="442"/>
                </a:lnTo>
                <a:lnTo>
                  <a:pt x="144" y="437"/>
                </a:lnTo>
                <a:lnTo>
                  <a:pt x="144" y="433"/>
                </a:lnTo>
                <a:lnTo>
                  <a:pt x="145" y="430"/>
                </a:lnTo>
                <a:lnTo>
                  <a:pt x="145" y="425"/>
                </a:lnTo>
                <a:lnTo>
                  <a:pt x="146" y="421"/>
                </a:lnTo>
                <a:lnTo>
                  <a:pt x="147" y="416"/>
                </a:lnTo>
                <a:lnTo>
                  <a:pt x="148" y="413"/>
                </a:lnTo>
                <a:lnTo>
                  <a:pt x="149" y="408"/>
                </a:lnTo>
                <a:lnTo>
                  <a:pt x="151" y="403"/>
                </a:lnTo>
                <a:lnTo>
                  <a:pt x="152" y="398"/>
                </a:lnTo>
                <a:lnTo>
                  <a:pt x="153" y="395"/>
                </a:lnTo>
                <a:lnTo>
                  <a:pt x="154" y="390"/>
                </a:lnTo>
                <a:lnTo>
                  <a:pt x="155" y="385"/>
                </a:lnTo>
                <a:lnTo>
                  <a:pt x="157" y="381"/>
                </a:lnTo>
                <a:lnTo>
                  <a:pt x="158" y="376"/>
                </a:lnTo>
                <a:lnTo>
                  <a:pt x="160" y="371"/>
                </a:lnTo>
                <a:lnTo>
                  <a:pt x="161" y="366"/>
                </a:lnTo>
                <a:lnTo>
                  <a:pt x="164" y="361"/>
                </a:lnTo>
                <a:lnTo>
                  <a:pt x="166" y="357"/>
                </a:lnTo>
                <a:lnTo>
                  <a:pt x="167" y="352"/>
                </a:lnTo>
                <a:lnTo>
                  <a:pt x="170" y="347"/>
                </a:lnTo>
                <a:lnTo>
                  <a:pt x="172" y="341"/>
                </a:lnTo>
                <a:lnTo>
                  <a:pt x="175" y="336"/>
                </a:lnTo>
                <a:lnTo>
                  <a:pt x="177" y="331"/>
                </a:lnTo>
                <a:lnTo>
                  <a:pt x="179" y="327"/>
                </a:lnTo>
                <a:lnTo>
                  <a:pt x="182" y="322"/>
                </a:lnTo>
                <a:lnTo>
                  <a:pt x="185" y="317"/>
                </a:lnTo>
                <a:lnTo>
                  <a:pt x="188" y="312"/>
                </a:lnTo>
                <a:lnTo>
                  <a:pt x="190" y="308"/>
                </a:lnTo>
                <a:lnTo>
                  <a:pt x="193" y="302"/>
                </a:lnTo>
                <a:lnTo>
                  <a:pt x="196" y="298"/>
                </a:lnTo>
                <a:lnTo>
                  <a:pt x="200" y="292"/>
                </a:lnTo>
                <a:lnTo>
                  <a:pt x="202" y="287"/>
                </a:lnTo>
                <a:lnTo>
                  <a:pt x="206" y="284"/>
                </a:lnTo>
                <a:lnTo>
                  <a:pt x="211" y="279"/>
                </a:lnTo>
                <a:lnTo>
                  <a:pt x="214" y="274"/>
                </a:lnTo>
                <a:lnTo>
                  <a:pt x="217" y="269"/>
                </a:lnTo>
                <a:lnTo>
                  <a:pt x="221" y="264"/>
                </a:lnTo>
                <a:lnTo>
                  <a:pt x="226" y="261"/>
                </a:lnTo>
                <a:lnTo>
                  <a:pt x="230" y="256"/>
                </a:lnTo>
                <a:lnTo>
                  <a:pt x="235" y="251"/>
                </a:lnTo>
                <a:lnTo>
                  <a:pt x="238" y="248"/>
                </a:lnTo>
                <a:lnTo>
                  <a:pt x="244" y="244"/>
                </a:lnTo>
                <a:lnTo>
                  <a:pt x="244" y="242"/>
                </a:lnTo>
                <a:lnTo>
                  <a:pt x="248" y="239"/>
                </a:lnTo>
                <a:lnTo>
                  <a:pt x="249" y="237"/>
                </a:lnTo>
                <a:lnTo>
                  <a:pt x="252" y="235"/>
                </a:lnTo>
                <a:lnTo>
                  <a:pt x="255" y="231"/>
                </a:lnTo>
                <a:lnTo>
                  <a:pt x="260" y="227"/>
                </a:lnTo>
                <a:lnTo>
                  <a:pt x="262" y="224"/>
                </a:lnTo>
                <a:lnTo>
                  <a:pt x="268" y="219"/>
                </a:lnTo>
                <a:lnTo>
                  <a:pt x="273" y="215"/>
                </a:lnTo>
                <a:lnTo>
                  <a:pt x="279" y="212"/>
                </a:lnTo>
                <a:lnTo>
                  <a:pt x="281" y="208"/>
                </a:lnTo>
                <a:lnTo>
                  <a:pt x="285" y="206"/>
                </a:lnTo>
                <a:lnTo>
                  <a:pt x="287" y="203"/>
                </a:lnTo>
                <a:lnTo>
                  <a:pt x="292" y="201"/>
                </a:lnTo>
                <a:lnTo>
                  <a:pt x="296" y="199"/>
                </a:lnTo>
                <a:lnTo>
                  <a:pt x="298" y="197"/>
                </a:lnTo>
                <a:lnTo>
                  <a:pt x="303" y="194"/>
                </a:lnTo>
                <a:lnTo>
                  <a:pt x="308" y="193"/>
                </a:lnTo>
                <a:lnTo>
                  <a:pt x="310" y="189"/>
                </a:lnTo>
                <a:lnTo>
                  <a:pt x="315" y="188"/>
                </a:lnTo>
                <a:lnTo>
                  <a:pt x="318" y="184"/>
                </a:lnTo>
                <a:lnTo>
                  <a:pt x="323" y="182"/>
                </a:lnTo>
                <a:lnTo>
                  <a:pt x="328" y="179"/>
                </a:lnTo>
                <a:lnTo>
                  <a:pt x="333" y="177"/>
                </a:lnTo>
                <a:lnTo>
                  <a:pt x="338" y="175"/>
                </a:lnTo>
                <a:lnTo>
                  <a:pt x="342" y="174"/>
                </a:lnTo>
                <a:lnTo>
                  <a:pt x="347" y="170"/>
                </a:lnTo>
                <a:lnTo>
                  <a:pt x="352" y="168"/>
                </a:lnTo>
                <a:lnTo>
                  <a:pt x="358" y="165"/>
                </a:lnTo>
                <a:lnTo>
                  <a:pt x="363" y="164"/>
                </a:lnTo>
                <a:lnTo>
                  <a:pt x="369" y="162"/>
                </a:lnTo>
                <a:lnTo>
                  <a:pt x="375" y="160"/>
                </a:lnTo>
                <a:lnTo>
                  <a:pt x="381" y="158"/>
                </a:lnTo>
                <a:lnTo>
                  <a:pt x="387" y="157"/>
                </a:lnTo>
                <a:lnTo>
                  <a:pt x="393" y="154"/>
                </a:lnTo>
                <a:lnTo>
                  <a:pt x="399" y="152"/>
                </a:lnTo>
                <a:lnTo>
                  <a:pt x="405" y="151"/>
                </a:lnTo>
                <a:lnTo>
                  <a:pt x="412" y="150"/>
                </a:lnTo>
                <a:lnTo>
                  <a:pt x="418" y="147"/>
                </a:lnTo>
                <a:lnTo>
                  <a:pt x="425" y="146"/>
                </a:lnTo>
                <a:lnTo>
                  <a:pt x="431" y="145"/>
                </a:lnTo>
                <a:lnTo>
                  <a:pt x="439" y="144"/>
                </a:lnTo>
                <a:lnTo>
                  <a:pt x="445" y="142"/>
                </a:lnTo>
                <a:lnTo>
                  <a:pt x="453" y="141"/>
                </a:lnTo>
                <a:lnTo>
                  <a:pt x="460" y="140"/>
                </a:lnTo>
                <a:lnTo>
                  <a:pt x="468" y="140"/>
                </a:lnTo>
                <a:lnTo>
                  <a:pt x="475" y="139"/>
                </a:lnTo>
                <a:lnTo>
                  <a:pt x="484" y="139"/>
                </a:lnTo>
                <a:lnTo>
                  <a:pt x="491" y="139"/>
                </a:lnTo>
                <a:lnTo>
                  <a:pt x="500" y="139"/>
                </a:lnTo>
                <a:close/>
              </a:path>
            </a:pathLst>
          </a:custGeom>
          <a:solidFill>
            <a:srgbClr val="EAEAEA"/>
          </a:solidFill>
          <a:ln w="9525">
            <a:noFill/>
            <a:round/>
            <a:headEnd/>
            <a:tailEnd/>
          </a:ln>
        </p:spPr>
        <p:txBody>
          <a:bodyPr/>
          <a:lstStyle/>
          <a:p>
            <a:endParaRPr lang="en-US"/>
          </a:p>
        </p:txBody>
      </p:sp>
      <p:sp>
        <p:nvSpPr>
          <p:cNvPr id="39973" name="Oval 38"/>
          <p:cNvSpPr>
            <a:spLocks noChangeArrowheads="1"/>
          </p:cNvSpPr>
          <p:nvPr/>
        </p:nvSpPr>
        <p:spPr bwMode="gray">
          <a:xfrm>
            <a:off x="5514975" y="3219450"/>
            <a:ext cx="1595438" cy="1571625"/>
          </a:xfrm>
          <a:prstGeom prst="ellipse">
            <a:avLst/>
          </a:prstGeom>
          <a:solidFill>
            <a:srgbClr val="EAEAEA"/>
          </a:solidFill>
          <a:ln w="28575">
            <a:solidFill>
              <a:srgbClr val="DDDDDD"/>
            </a:solidFill>
            <a:round/>
            <a:headEnd/>
            <a:tailEnd/>
          </a:ln>
        </p:spPr>
        <p:txBody>
          <a:bodyPr/>
          <a:lstStyle/>
          <a:p>
            <a:endParaRPr lang="en-US"/>
          </a:p>
        </p:txBody>
      </p:sp>
      <p:sp>
        <p:nvSpPr>
          <p:cNvPr id="39974" name="Text Box 42"/>
          <p:cNvSpPr txBox="1">
            <a:spLocks noChangeArrowheads="1"/>
          </p:cNvSpPr>
          <p:nvPr/>
        </p:nvSpPr>
        <p:spPr bwMode="gray">
          <a:xfrm>
            <a:off x="5532438" y="3305175"/>
            <a:ext cx="1495425" cy="1527175"/>
          </a:xfrm>
          <a:prstGeom prst="rect">
            <a:avLst/>
          </a:prstGeom>
          <a:noFill/>
          <a:ln w="12700">
            <a:noFill/>
            <a:miter lim="800000"/>
            <a:headEnd/>
            <a:tailEnd/>
          </a:ln>
        </p:spPr>
        <p:txBody>
          <a:bodyPr anchor="ctr"/>
          <a:lstStyle/>
          <a:p>
            <a:pPr algn="ctr" eaLnBrk="0" hangingPunct="0">
              <a:buClr>
                <a:schemeClr val="accent2"/>
              </a:buClr>
              <a:buFont typeface="Symbol" pitchFamily="18" charset="2"/>
              <a:buNone/>
            </a:pPr>
            <a:r>
              <a:rPr lang="en-US" sz="1600" b="1"/>
              <a:t>Operational Metrics</a:t>
            </a:r>
            <a:endParaRPr lang="en-US" sz="1000"/>
          </a:p>
        </p:txBody>
      </p:sp>
      <p:sp>
        <p:nvSpPr>
          <p:cNvPr id="39975" name="Line 50"/>
          <p:cNvSpPr>
            <a:spLocks noChangeShapeType="1"/>
          </p:cNvSpPr>
          <p:nvPr/>
        </p:nvSpPr>
        <p:spPr bwMode="gray">
          <a:xfrm>
            <a:off x="1741488" y="2257425"/>
            <a:ext cx="7937" cy="884238"/>
          </a:xfrm>
          <a:prstGeom prst="line">
            <a:avLst/>
          </a:prstGeom>
          <a:noFill/>
          <a:ln w="9525">
            <a:solidFill>
              <a:schemeClr val="bg2"/>
            </a:solidFill>
            <a:round/>
            <a:headEnd/>
            <a:tailEnd/>
          </a:ln>
        </p:spPr>
        <p:txBody>
          <a:bodyPr/>
          <a:lstStyle/>
          <a:p>
            <a:endParaRPr lang="en-US"/>
          </a:p>
        </p:txBody>
      </p:sp>
      <p:sp>
        <p:nvSpPr>
          <p:cNvPr id="39976" name="Line 60"/>
          <p:cNvSpPr>
            <a:spLocks noChangeShapeType="1"/>
          </p:cNvSpPr>
          <p:nvPr/>
        </p:nvSpPr>
        <p:spPr bwMode="gray">
          <a:xfrm>
            <a:off x="5105400" y="1611313"/>
            <a:ext cx="685800" cy="228600"/>
          </a:xfrm>
          <a:prstGeom prst="line">
            <a:avLst/>
          </a:prstGeom>
          <a:noFill/>
          <a:ln w="9525">
            <a:solidFill>
              <a:schemeClr val="bg2"/>
            </a:solidFill>
            <a:round/>
            <a:headEnd/>
            <a:tailEnd/>
          </a:ln>
        </p:spPr>
        <p:txBody>
          <a:bodyPr/>
          <a:lstStyle/>
          <a:p>
            <a:endParaRPr lang="en-US"/>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3" name="Rectangle 2"/>
          <p:cNvSpPr>
            <a:spLocks noGrp="1" noChangeArrowheads="1"/>
          </p:cNvSpPr>
          <p:nvPr>
            <p:ph type="title" idx="4294967295"/>
          </p:nvPr>
        </p:nvSpPr>
        <p:spPr>
          <a:xfrm>
            <a:off x="182563" y="257175"/>
            <a:ext cx="6981825" cy="701675"/>
          </a:xfrm>
        </p:spPr>
        <p:txBody>
          <a:bodyPr tIns="131760"/>
          <a:lstStyle/>
          <a:p>
            <a:pPr eaLnBrk="1" hangingPunct="1">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pPr>
            <a:r>
              <a:rPr lang="en-US" smtClean="0"/>
              <a:t>ALCS members contributed to the project with their passion, expertise and tremendous Moroccan hospitality </a:t>
            </a:r>
          </a:p>
        </p:txBody>
      </p:sp>
      <p:sp>
        <p:nvSpPr>
          <p:cNvPr id="23554" name="Slide Number Placeholder 4"/>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EED73B92-FF11-4295-B240-707F5016EC3E}" type="slidenum">
              <a:rPr lang="en-US" sz="800"/>
              <a:pPr/>
              <a:t>9</a:t>
            </a:fld>
            <a:endParaRPr lang="en-US" sz="800"/>
          </a:p>
        </p:txBody>
      </p:sp>
      <p:pic>
        <p:nvPicPr>
          <p:cNvPr id="23560" name="Picture 8" descr="IMG_5269"/>
          <p:cNvPicPr>
            <a:picLocks noChangeAspect="1" noChangeArrowheads="1"/>
          </p:cNvPicPr>
          <p:nvPr/>
        </p:nvPicPr>
        <p:blipFill>
          <a:blip r:embed="rId3"/>
          <a:srcRect/>
          <a:stretch>
            <a:fillRect/>
          </a:stretch>
        </p:blipFill>
        <p:spPr bwMode="auto">
          <a:xfrm>
            <a:off x="395288" y="1979613"/>
            <a:ext cx="3149600" cy="2362200"/>
          </a:xfrm>
          <a:prstGeom prst="rect">
            <a:avLst/>
          </a:prstGeom>
          <a:noFill/>
        </p:spPr>
      </p:pic>
      <p:pic>
        <p:nvPicPr>
          <p:cNvPr id="23561" name="Picture 9" descr="IMAG0095"/>
          <p:cNvPicPr>
            <a:picLocks noChangeAspect="1" noChangeArrowheads="1"/>
          </p:cNvPicPr>
          <p:nvPr/>
        </p:nvPicPr>
        <p:blipFill>
          <a:blip r:embed="rId4"/>
          <a:srcRect/>
          <a:stretch>
            <a:fillRect/>
          </a:stretch>
        </p:blipFill>
        <p:spPr bwMode="auto">
          <a:xfrm>
            <a:off x="549275" y="4341813"/>
            <a:ext cx="3460750" cy="2195512"/>
          </a:xfrm>
          <a:prstGeom prst="rect">
            <a:avLst/>
          </a:prstGeom>
          <a:noFill/>
        </p:spPr>
      </p:pic>
      <p:pic>
        <p:nvPicPr>
          <p:cNvPr id="23562" name="Picture 10" descr="IMAG0175"/>
          <p:cNvPicPr>
            <a:picLocks noChangeAspect="1" noChangeArrowheads="1"/>
          </p:cNvPicPr>
          <p:nvPr/>
        </p:nvPicPr>
        <p:blipFill>
          <a:blip r:embed="rId5"/>
          <a:srcRect/>
          <a:stretch>
            <a:fillRect/>
          </a:stretch>
        </p:blipFill>
        <p:spPr bwMode="auto">
          <a:xfrm>
            <a:off x="6107113" y="3676650"/>
            <a:ext cx="2830512" cy="2860675"/>
          </a:xfrm>
          <a:prstGeom prst="rect">
            <a:avLst/>
          </a:prstGeom>
          <a:noFill/>
        </p:spPr>
      </p:pic>
      <p:pic>
        <p:nvPicPr>
          <p:cNvPr id="23565" name="Picture 13" descr="ALCS 5"/>
          <p:cNvPicPr>
            <a:picLocks noChangeAspect="1" noChangeArrowheads="1"/>
          </p:cNvPicPr>
          <p:nvPr/>
        </p:nvPicPr>
        <p:blipFill>
          <a:blip r:embed="rId6"/>
          <a:srcRect/>
          <a:stretch>
            <a:fillRect/>
          </a:stretch>
        </p:blipFill>
        <p:spPr bwMode="auto">
          <a:xfrm>
            <a:off x="4010025" y="3676650"/>
            <a:ext cx="2806700" cy="2667000"/>
          </a:xfrm>
          <a:prstGeom prst="rect">
            <a:avLst/>
          </a:prstGeom>
          <a:noFill/>
        </p:spPr>
      </p:pic>
      <p:pic>
        <p:nvPicPr>
          <p:cNvPr id="23567" name="Picture 15" descr="2014-05-09+12"/>
          <p:cNvPicPr>
            <a:picLocks noChangeAspect="1" noChangeArrowheads="1"/>
          </p:cNvPicPr>
          <p:nvPr/>
        </p:nvPicPr>
        <p:blipFill>
          <a:blip r:embed="rId7"/>
          <a:srcRect/>
          <a:stretch>
            <a:fillRect/>
          </a:stretch>
        </p:blipFill>
        <p:spPr bwMode="auto">
          <a:xfrm>
            <a:off x="3544888" y="1220788"/>
            <a:ext cx="5059362" cy="3121025"/>
          </a:xfrm>
          <a:prstGeom prst="rect">
            <a:avLst/>
          </a:prstGeom>
          <a:noFill/>
        </p:spPr>
      </p:pic>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RESIZE" val="Yes"/>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heme/theme1.xml><?xml version="1.0" encoding="utf-8"?>
<a:theme xmlns:a="http://schemas.openxmlformats.org/drawingml/2006/main" name="NA Delivery template">
  <a:themeElements>
    <a:clrScheme name="NA Delivery template 1">
      <a:dk1>
        <a:srgbClr val="000000"/>
      </a:dk1>
      <a:lt1>
        <a:srgbClr val="FFFFFF"/>
      </a:lt1>
      <a:dk2>
        <a:srgbClr val="000000"/>
      </a:dk2>
      <a:lt2>
        <a:srgbClr val="808080"/>
      </a:lt2>
      <a:accent1>
        <a:srgbClr val="009999"/>
      </a:accent1>
      <a:accent2>
        <a:srgbClr val="71BFA7"/>
      </a:accent2>
      <a:accent3>
        <a:srgbClr val="FFFFFF"/>
      </a:accent3>
      <a:accent4>
        <a:srgbClr val="000000"/>
      </a:accent4>
      <a:accent5>
        <a:srgbClr val="AACACA"/>
      </a:accent5>
      <a:accent6>
        <a:srgbClr val="66AD97"/>
      </a:accent6>
      <a:hlink>
        <a:srgbClr val="7889FB"/>
      </a:hlink>
      <a:folHlink>
        <a:srgbClr val="9900CC"/>
      </a:folHlink>
    </a:clrScheme>
    <a:fontScheme name="NA Delivery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9525">
          <a:noFill/>
          <a:miter lim="800000"/>
          <a:headEnd/>
          <a:tailEnd/>
        </a:ln>
        <a:effectLst/>
      </a:spPr>
      <a:bodyPr lIns="0" tIns="0" rIns="0" bIns="0"/>
      <a:lstStyle>
        <a:defPPr marL="225425" indent="-225425">
          <a:buClr>
            <a:srgbClr val="7889FB"/>
          </a:buClr>
          <a:buFont typeface="Wingdings" pitchFamily="2" charset="2"/>
          <a:buChar char="§"/>
          <a:defRPr sz="1300" dirty="0" smtClean="0"/>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NA Delivery template 1">
        <a:dk1>
          <a:srgbClr val="000000"/>
        </a:dk1>
        <a:lt1>
          <a:srgbClr val="FFFFFF"/>
        </a:lt1>
        <a:dk2>
          <a:srgbClr val="000000"/>
        </a:dk2>
        <a:lt2>
          <a:srgbClr val="808080"/>
        </a:lt2>
        <a:accent1>
          <a:srgbClr val="009999"/>
        </a:accent1>
        <a:accent2>
          <a:srgbClr val="71BFA7"/>
        </a:accent2>
        <a:accent3>
          <a:srgbClr val="FFFFFF"/>
        </a:accent3>
        <a:accent4>
          <a:srgbClr val="000000"/>
        </a:accent4>
        <a:accent5>
          <a:srgbClr val="AACACA"/>
        </a:accent5>
        <a:accent6>
          <a:srgbClr val="66AD97"/>
        </a:accent6>
        <a:hlink>
          <a:srgbClr val="7889FB"/>
        </a:hlink>
        <a:folHlink>
          <a:srgbClr val="9900CC"/>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2374</TotalTime>
  <Words>1437</Words>
  <Application>Microsoft Office PowerPoint</Application>
  <PresentationFormat>On-screen Show (4:3)</PresentationFormat>
  <Paragraphs>294</Paragraphs>
  <Slides>16</Slides>
  <Notes>4</Notes>
  <HiddenSlides>0</HiddenSlides>
  <MMClips>0</MMClips>
  <ScaleCrop>false</ScaleCrop>
  <HeadingPairs>
    <vt:vector size="6" baseType="variant">
      <vt:variant>
        <vt:lpstr>Fonts Used</vt:lpstr>
      </vt:variant>
      <vt:variant>
        <vt:i4>7</vt:i4>
      </vt:variant>
      <vt:variant>
        <vt:lpstr>Design Template</vt:lpstr>
      </vt:variant>
      <vt:variant>
        <vt:i4>2</vt:i4>
      </vt:variant>
      <vt:variant>
        <vt:lpstr>Slide Titles</vt:lpstr>
      </vt:variant>
      <vt:variant>
        <vt:i4>16</vt:i4>
      </vt:variant>
    </vt:vector>
  </HeadingPairs>
  <TitlesOfParts>
    <vt:vector size="25" baseType="lpstr">
      <vt:lpstr>Arial</vt:lpstr>
      <vt:lpstr>Wingdings</vt:lpstr>
      <vt:lpstr>Calibri</vt:lpstr>
      <vt:lpstr>SimSun</vt:lpstr>
      <vt:lpstr>Helvetica</vt:lpstr>
      <vt:lpstr>HelveticaNeueLT Pro 65 Md</vt:lpstr>
      <vt:lpstr>Symbol</vt:lpstr>
      <vt:lpstr>NA Delivery template</vt:lpstr>
      <vt:lpstr>NA Delivery template</vt:lpstr>
      <vt:lpstr>IT Solutions for Business Impact and Sustainability Association de lutte contre la sida (ALCS)    May 23, 2014</vt:lpstr>
      <vt:lpstr>Slide 2</vt:lpstr>
      <vt:lpstr>Our Understanding of ALCS Priorities </vt:lpstr>
      <vt:lpstr>Executive Summary</vt:lpstr>
      <vt:lpstr>Overall CSC Project Goals</vt:lpstr>
      <vt:lpstr>Our Commitments to ALCS</vt:lpstr>
      <vt:lpstr>Our Approach   </vt:lpstr>
      <vt:lpstr>ALCS operations and management are driven by programs/projects </vt:lpstr>
      <vt:lpstr>ALCS members contributed to the project with their passion, expertise and tremendous Moroccan hospitality </vt:lpstr>
      <vt:lpstr>Slide 10</vt:lpstr>
      <vt:lpstr>Slide 11</vt:lpstr>
      <vt:lpstr>Slide 12</vt:lpstr>
      <vt:lpstr>Strengths and weaknesses may be turned into opportunities                        – keeping in mind the potential threats</vt:lpstr>
      <vt:lpstr>Slide 14</vt:lpstr>
      <vt:lpstr>Investing in a centralized program management application will improve operational efficiency and sustainability</vt:lpstr>
      <vt:lpstr>Design Considerations</vt:lpstr>
    </vt:vector>
  </TitlesOfParts>
  <Company>IBM Corporation</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proach</dc:title>
  <dc:creator>ADMINIBM</dc:creator>
  <cp:lastModifiedBy>ADMINIBM</cp:lastModifiedBy>
  <cp:revision>406</cp:revision>
  <dcterms:created xsi:type="dcterms:W3CDTF">2013-05-22T07:22:00Z</dcterms:created>
  <dcterms:modified xsi:type="dcterms:W3CDTF">2014-05-19T18:45:44Z</dcterms:modified>
</cp:coreProperties>
</file>